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1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  <p:sldMasterId id="2147483677" r:id="rId5"/>
  </p:sldMasterIdLst>
  <p:handoutMasterIdLst>
    <p:handoutMasterId r:id="rId26"/>
  </p:handoutMasterIdLst>
  <p:sldIdLst>
    <p:sldId id="256" r:id="rId6"/>
    <p:sldId id="279" r:id="rId7"/>
    <p:sldId id="318" r:id="rId8"/>
    <p:sldId id="319" r:id="rId9"/>
    <p:sldId id="320" r:id="rId10"/>
    <p:sldId id="1256" r:id="rId11"/>
    <p:sldId id="278" r:id="rId12"/>
    <p:sldId id="322" r:id="rId13"/>
    <p:sldId id="1248" r:id="rId14"/>
    <p:sldId id="1245" r:id="rId15"/>
    <p:sldId id="1249" r:id="rId16"/>
    <p:sldId id="1241" r:id="rId17"/>
    <p:sldId id="1250" r:id="rId18"/>
    <p:sldId id="1236" r:id="rId19"/>
    <p:sldId id="1252" r:id="rId20"/>
    <p:sldId id="1253" r:id="rId21"/>
    <p:sldId id="1254" r:id="rId22"/>
    <p:sldId id="1242" r:id="rId23"/>
    <p:sldId id="1243" r:id="rId24"/>
    <p:sldId id="304" r:id="rId25"/>
  </p:sldIdLst>
  <p:sldSz cx="12192000" cy="6858000"/>
  <p:notesSz cx="6858000" cy="9144000"/>
  <p:embeddedFontLst>
    <p:embeddedFont>
      <p:font typeface="Georgia" panose="02040502050405020303" pitchFamily="18" charset="0"/>
      <p:regular r:id="rId27"/>
      <p:bold r:id="rId28"/>
      <p:italic r:id="rId29"/>
      <p:boldItalic r:id="rId30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050A"/>
    <a:srgbClr val="6E1336"/>
    <a:srgbClr val="F0C3BE"/>
    <a:srgbClr val="092529"/>
    <a:srgbClr val="CFE9DE"/>
    <a:srgbClr val="FFC080"/>
    <a:srgbClr val="296459"/>
    <a:srgbClr val="FFC9CB"/>
    <a:srgbClr val="B8153A"/>
    <a:srgbClr val="D0EA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E3FDE45-AF77-4B5C-9715-49D594BDF05E}" styleName="Lys stil 1 – utheving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38" d="100"/>
          <a:sy n="138" d="100"/>
        </p:scale>
        <p:origin x="3360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font" Target="fonts/font3.fntdata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font" Target="fonts/font2.fntdata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font" Target="fonts/font1.fntdata"/><Relationship Id="rId30" Type="http://schemas.openxmlformats.org/officeDocument/2006/relationships/font" Target="fonts/font4.fntdata"/><Relationship Id="rId8" Type="http://schemas.openxmlformats.org/officeDocument/2006/relationships/slide" Target="slides/slide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>
            <a:extLst>
              <a:ext uri="{FF2B5EF4-FFF2-40B4-BE49-F238E27FC236}">
                <a16:creationId xmlns:a16="http://schemas.microsoft.com/office/drawing/2014/main" id="{E2E06772-4628-49C7-B5E7-3EF8C875E9C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207E314A-BF09-405E-BC64-C53624FA0A0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473D26-4D0E-4123-B9FF-F098870C00B1}" type="datetimeFigureOut">
              <a:rPr lang="nb-NO" smtClean="0"/>
              <a:t>26.11.2025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2750F36E-2171-44CC-848C-0D6DBF8C8EE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5B3E626D-1153-47E8-83F0-7A24E81B32B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C4F6D5-34FE-42F2-A61D-991F6BC5CB8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6045692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_title">
            <a:extLst>
              <a:ext uri="{FF2B5EF4-FFF2-40B4-BE49-F238E27FC236}">
                <a16:creationId xmlns:a16="http://schemas.microsoft.com/office/drawing/2014/main" id="{AD90EC18-B2B0-476F-9B79-1FAB5B83243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4378804"/>
            <a:ext cx="9144000" cy="1200329"/>
          </a:xfrm>
        </p:spPr>
        <p:txBody>
          <a:bodyPr anchor="b">
            <a:noAutofit/>
          </a:bodyPr>
          <a:lstStyle>
            <a:lvl1pPr algn="ctr">
              <a:defRPr sz="3600" b="0">
                <a:solidFill>
                  <a:schemeClr val="accent2"/>
                </a:solidFill>
              </a:defRPr>
            </a:lvl1pPr>
          </a:lstStyle>
          <a:p>
            <a:r>
              <a:rPr lang="en-US" err="1"/>
              <a:t>Overskrift</a:t>
            </a:r>
            <a:r>
              <a:rPr lang="en-US"/>
              <a:t> over </a:t>
            </a:r>
            <a:r>
              <a:rPr lang="en-US" err="1"/>
              <a:t>én</a:t>
            </a:r>
            <a:r>
              <a:rPr lang="en-US"/>
              <a:t> </a:t>
            </a:r>
            <a:r>
              <a:rPr lang="en-US" err="1"/>
              <a:t>linje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eller</a:t>
            </a:r>
            <a:r>
              <a:rPr lang="en-US"/>
              <a:t> </a:t>
            </a:r>
            <a:r>
              <a:rPr lang="en-US" err="1"/>
              <a:t>maks</a:t>
            </a:r>
            <a:r>
              <a:rPr lang="en-US"/>
              <a:t> to </a:t>
            </a:r>
            <a:r>
              <a:rPr lang="en-US" err="1"/>
              <a:t>linjer</a:t>
            </a:r>
            <a:endParaRPr lang="nb-NO"/>
          </a:p>
        </p:txBody>
      </p:sp>
      <p:sp>
        <p:nvSpPr>
          <p:cNvPr id="3" name="VM_Subtitle">
            <a:extLst>
              <a:ext uri="{FF2B5EF4-FFF2-40B4-BE49-F238E27FC236}">
                <a16:creationId xmlns:a16="http://schemas.microsoft.com/office/drawing/2014/main" id="{BE245B31-256B-4724-9A48-52FAF0FEBD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5613342"/>
            <a:ext cx="9144000" cy="720000"/>
          </a:xfrm>
        </p:spPr>
        <p:txBody>
          <a:bodyPr tIns="0" bIns="0">
            <a:noAutofit/>
          </a:bodyPr>
          <a:lstStyle>
            <a:lvl1pPr marL="0" indent="0" algn="ctr">
              <a:buNone/>
              <a:defRPr sz="2000" b="0">
                <a:solidFill>
                  <a:schemeClr val="accent2"/>
                </a:solidFill>
                <a:latin typeface="Vinmonopolet Ingress Medium" panose="000006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err="1"/>
              <a:t>Undertittel</a:t>
            </a:r>
            <a:r>
              <a:rPr lang="en-US"/>
              <a:t> over </a:t>
            </a:r>
            <a:r>
              <a:rPr lang="en-US" err="1"/>
              <a:t>én</a:t>
            </a:r>
            <a:r>
              <a:rPr lang="en-US"/>
              <a:t> </a:t>
            </a:r>
            <a:r>
              <a:rPr lang="en-US" err="1"/>
              <a:t>linje</a:t>
            </a:r>
            <a:endParaRPr lang="nb-NO"/>
          </a:p>
        </p:txBody>
      </p:sp>
      <p:sp>
        <p:nvSpPr>
          <p:cNvPr id="5" name="addin_colorlist" hidden="1">
            <a:extLst>
              <a:ext uri="{FF2B5EF4-FFF2-40B4-BE49-F238E27FC236}">
                <a16:creationId xmlns:a16="http://schemas.microsoft.com/office/drawing/2014/main" id="{C38FE9A3-8AEF-4C9B-ADBA-2EDEA0FD9016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clr1, clr2</a:t>
            </a:r>
          </a:p>
        </p:txBody>
      </p:sp>
      <p:sp>
        <p:nvSpPr>
          <p:cNvPr id="6" name="addin_colorbox" hidden="1">
            <a:extLst>
              <a:ext uri="{FF2B5EF4-FFF2-40B4-BE49-F238E27FC236}">
                <a16:creationId xmlns:a16="http://schemas.microsoft.com/office/drawing/2014/main" id="{8480C44E-17FF-4334-9F95-1AAD89444FA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EA806EE6-3F22-43B3-8BC9-F869FE2EA125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9" name="addin_logo" hidden="1">
            <a:extLst>
              <a:ext uri="{FF2B5EF4-FFF2-40B4-BE49-F238E27FC236}">
                <a16:creationId xmlns:a16="http://schemas.microsoft.com/office/drawing/2014/main" id="{B30C6E37-1766-4668-BDD5-2888096AEA4D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F7C01020-9956-482D-AF99-A0E00FC0619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5D3371CC-C6D7-41BA-B192-B0B651BBD39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grpSp>
        <p:nvGrpSpPr>
          <p:cNvPr id="7" name="logo_hvit">
            <a:extLst>
              <a:ext uri="{FF2B5EF4-FFF2-40B4-BE49-F238E27FC236}">
                <a16:creationId xmlns:a16="http://schemas.microsoft.com/office/drawing/2014/main" id="{27AF7C70-228E-41B7-939F-A51ACB7A9F91}"/>
              </a:ext>
            </a:extLst>
          </p:cNvPr>
          <p:cNvGrpSpPr/>
          <p:nvPr userDrawn="1"/>
        </p:nvGrpSpPr>
        <p:grpSpPr>
          <a:xfrm>
            <a:off x="4000500" y="712253"/>
            <a:ext cx="4165600" cy="3554038"/>
            <a:chOff x="4000500" y="712253"/>
            <a:chExt cx="4165600" cy="3554038"/>
          </a:xfrm>
        </p:grpSpPr>
        <p:sp>
          <p:nvSpPr>
            <p:cNvPr id="4" name="Rektangel 3">
              <a:extLst>
                <a:ext uri="{FF2B5EF4-FFF2-40B4-BE49-F238E27FC236}">
                  <a16:creationId xmlns:a16="http://schemas.microsoft.com/office/drawing/2014/main" id="{5C50A028-233F-4B2B-B583-1D5AFDA00C44}"/>
                </a:ext>
              </a:extLst>
            </p:cNvPr>
            <p:cNvSpPr/>
            <p:nvPr userDrawn="1"/>
          </p:nvSpPr>
          <p:spPr>
            <a:xfrm>
              <a:off x="4000500" y="712253"/>
              <a:ext cx="4165600" cy="3554038"/>
            </a:xfrm>
            <a:prstGeom prst="rect">
              <a:avLst/>
            </a:prstGeom>
            <a:solidFill>
              <a:srgbClr val="0925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4" name="Bilde 13">
              <a:extLst>
                <a:ext uri="{FF2B5EF4-FFF2-40B4-BE49-F238E27FC236}">
                  <a16:creationId xmlns:a16="http://schemas.microsoft.com/office/drawing/2014/main" id="{3CB38328-78B7-4B58-9355-D1FB8D101A3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4451554" y="1026124"/>
              <a:ext cx="3288892" cy="3240167"/>
            </a:xfrm>
            <a:prstGeom prst="rect">
              <a:avLst/>
            </a:prstGeom>
          </p:spPr>
        </p:pic>
      </p:grpSp>
      <p:grpSp>
        <p:nvGrpSpPr>
          <p:cNvPr id="12" name="logo_sort" hidden="1">
            <a:extLst>
              <a:ext uri="{FF2B5EF4-FFF2-40B4-BE49-F238E27FC236}">
                <a16:creationId xmlns:a16="http://schemas.microsoft.com/office/drawing/2014/main" id="{F6397E9E-9783-4945-A70C-01543D31C7FD}"/>
              </a:ext>
            </a:extLst>
          </p:cNvPr>
          <p:cNvGrpSpPr/>
          <p:nvPr userDrawn="1"/>
        </p:nvGrpSpPr>
        <p:grpSpPr>
          <a:xfrm>
            <a:off x="4000500" y="543484"/>
            <a:ext cx="4330700" cy="3779064"/>
            <a:chOff x="4000500" y="543484"/>
            <a:chExt cx="4330700" cy="3779064"/>
          </a:xfrm>
        </p:grpSpPr>
        <p:sp>
          <p:nvSpPr>
            <p:cNvPr id="10" name="Rektangel 9">
              <a:extLst>
                <a:ext uri="{FF2B5EF4-FFF2-40B4-BE49-F238E27FC236}">
                  <a16:creationId xmlns:a16="http://schemas.microsoft.com/office/drawing/2014/main" id="{3E694D97-D6A3-4327-A5EA-EE6A0EE1114C}"/>
                </a:ext>
              </a:extLst>
            </p:cNvPr>
            <p:cNvSpPr/>
            <p:nvPr userDrawn="1"/>
          </p:nvSpPr>
          <p:spPr>
            <a:xfrm>
              <a:off x="4000500" y="543484"/>
              <a:ext cx="4330700" cy="3779064"/>
            </a:xfrm>
            <a:prstGeom prst="rect">
              <a:avLst/>
            </a:prstGeom>
            <a:solidFill>
              <a:srgbClr val="D0EA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6" name="Bilde 15">
              <a:extLst>
                <a:ext uri="{FF2B5EF4-FFF2-40B4-BE49-F238E27FC236}">
                  <a16:creationId xmlns:a16="http://schemas.microsoft.com/office/drawing/2014/main" id="{8610030E-54EB-437C-A6A8-94E707EAA5D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4451554" y="1009020"/>
              <a:ext cx="3288723" cy="324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005682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med bilder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E932CF-A433-4359-A40C-4FAF0CF117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006853"/>
            <a:ext cx="6862478" cy="584775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r>
              <a:rPr lang="en-US" err="1"/>
              <a:t>Overskrift</a:t>
            </a:r>
            <a:r>
              <a:rPr lang="en-US"/>
              <a:t> over </a:t>
            </a:r>
            <a:r>
              <a:rPr lang="en-US" err="1"/>
              <a:t>maks</a:t>
            </a:r>
            <a:r>
              <a:rPr lang="en-US"/>
              <a:t> to </a:t>
            </a:r>
            <a:r>
              <a:rPr lang="en-US" err="1"/>
              <a:t>linjer</a:t>
            </a:r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107523-5338-4032-A2CC-D726BD0FC3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/>
            </a:lvl1pPr>
          </a:lstStyle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8CCC97-1455-4FC6-9065-263008AB3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/>
            </a:lvl1pPr>
          </a:lstStyle>
          <a:p>
            <a:fld id="{87AFF737-8834-469A-9016-7BBDA59936F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92B9BA-98D9-4B42-B749-6D40147236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199" y="1944686"/>
            <a:ext cx="6862479" cy="4291810"/>
          </a:xfrm>
          <a:prstGeom prst="rect">
            <a:avLst/>
          </a:prstGeom>
        </p:spPr>
        <p:txBody>
          <a:bodyPr lIns="0" tIns="0" rIns="0" bIns="0"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DD993DC-AC96-49BE-A38A-BA65A94856A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71090" y="621505"/>
            <a:ext cx="3197224" cy="2717007"/>
          </a:xfrm>
        </p:spPr>
        <p:txBody>
          <a:bodyPr/>
          <a:lstStyle/>
          <a:p>
            <a:endParaRPr lang="nb-NO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349B6086-1CBC-4842-B66A-895E7B1A5D7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71089" y="3519489"/>
            <a:ext cx="3197224" cy="2717007"/>
          </a:xfrm>
        </p:spPr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039660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med bilde (H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E932CF-A433-4359-A40C-4FAF0CF117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514410"/>
            <a:ext cx="4590539" cy="1077218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en-US" err="1"/>
              <a:t>Overskrift</a:t>
            </a:r>
            <a:r>
              <a:rPr lang="en-US"/>
              <a:t> over </a:t>
            </a:r>
            <a:r>
              <a:rPr lang="en-US" err="1"/>
              <a:t>maks</a:t>
            </a:r>
            <a:r>
              <a:rPr lang="en-US"/>
              <a:t> to </a:t>
            </a:r>
            <a:r>
              <a:rPr lang="en-US" err="1"/>
              <a:t>linjer</a:t>
            </a:r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107523-5338-4032-A2CC-D726BD0FC3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/>
            </a:lvl1pPr>
          </a:lstStyle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8CCC97-1455-4FC6-9065-263008AB3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/>
            </a:lvl1pPr>
          </a:lstStyle>
          <a:p>
            <a:fld id="{87AFF737-8834-469A-9016-7BBDA59936F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92B9BA-98D9-4B42-B749-6D40147236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1" y="1944686"/>
            <a:ext cx="4590540" cy="4291810"/>
          </a:xfrm>
          <a:prstGeom prst="rect">
            <a:avLst/>
          </a:prstGeom>
        </p:spPr>
        <p:txBody>
          <a:bodyPr lIns="0" tIns="0" rIns="0" bIns="0"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349B6086-1CBC-4842-B66A-895E7B1A5D7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899150" y="621505"/>
            <a:ext cx="5469163" cy="5614992"/>
          </a:xfrm>
        </p:spPr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381057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 med bilde (H)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DD993DC-AC96-49BE-A38A-BA65A94856A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382000" y="0"/>
            <a:ext cx="3810001" cy="6858000"/>
          </a:xfrm>
        </p:spPr>
        <p:txBody>
          <a:bodyPr/>
          <a:lstStyle/>
          <a:p>
            <a:endParaRPr lang="nb-NO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E932CF-A433-4359-A40C-4FAF0CF117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514410"/>
            <a:ext cx="7073390" cy="1077218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en-US" err="1"/>
              <a:t>Overskrift</a:t>
            </a:r>
            <a:r>
              <a:rPr lang="en-US"/>
              <a:t> over </a:t>
            </a:r>
            <a:r>
              <a:rPr lang="en-US" err="1"/>
              <a:t>maks</a:t>
            </a:r>
            <a:r>
              <a:rPr lang="en-US"/>
              <a:t> to </a:t>
            </a:r>
            <a:r>
              <a:rPr lang="en-US" err="1"/>
              <a:t>linjer</a:t>
            </a:r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107523-5338-4032-A2CC-D726BD0FC3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/>
            </a:lvl1pPr>
          </a:lstStyle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8CCC97-1455-4FC6-9065-263008AB3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/>
            </a:lvl1pPr>
          </a:lstStyle>
          <a:p>
            <a:fld id="{87AFF737-8834-469A-9016-7BBDA59936F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92B9BA-98D9-4B42-B749-6D40147236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199" y="1944686"/>
            <a:ext cx="7073391" cy="4291810"/>
          </a:xfrm>
          <a:prstGeom prst="rect">
            <a:avLst/>
          </a:prstGeom>
        </p:spPr>
        <p:txBody>
          <a:bodyPr lIns="0" tIns="0" rIns="0" bIns="0"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0" name="addin_logo" hidden="1">
            <a:extLst>
              <a:ext uri="{FF2B5EF4-FFF2-40B4-BE49-F238E27FC236}">
                <a16:creationId xmlns:a16="http://schemas.microsoft.com/office/drawing/2014/main" id="{19977D30-B0F4-44F9-B5EA-152B4A9FE2C4}"/>
              </a:ext>
            </a:extLst>
          </p:cNvPr>
          <p:cNvSpPr/>
          <p:nvPr userDrawn="1"/>
        </p:nvSpPr>
        <p:spPr>
          <a:xfrm>
            <a:off x="3853679" y="-76107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err="1"/>
              <a:t>addin_logo</a:t>
            </a:r>
            <a:endParaRPr lang="nb-NO" sz="900"/>
          </a:p>
        </p:txBody>
      </p:sp>
      <p:sp>
        <p:nvSpPr>
          <p:cNvPr id="11" name="addin_grouplist" hidden="1">
            <a:extLst>
              <a:ext uri="{FF2B5EF4-FFF2-40B4-BE49-F238E27FC236}">
                <a16:creationId xmlns:a16="http://schemas.microsoft.com/office/drawing/2014/main" id="{262D7235-0628-46F8-9297-EA62F192D14E}"/>
              </a:ext>
            </a:extLst>
          </p:cNvPr>
          <p:cNvSpPr/>
          <p:nvPr userDrawn="1"/>
        </p:nvSpPr>
        <p:spPr>
          <a:xfrm>
            <a:off x="672101" y="-75321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logo_changer</a:t>
            </a:r>
            <a:endParaRPr lang="nb-NO" sz="9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2" name="logo_hvit" descr="A picture containing drawing&#10;&#10;Description automatically generated" hidden="1">
            <a:extLst>
              <a:ext uri="{FF2B5EF4-FFF2-40B4-BE49-F238E27FC236}">
                <a16:creationId xmlns:a16="http://schemas.microsoft.com/office/drawing/2014/main" id="{69A794E6-FBA7-495D-9B81-8725860E793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4906" y="6521361"/>
            <a:ext cx="1426749" cy="108000"/>
          </a:xfrm>
          <a:prstGeom prst="rect">
            <a:avLst/>
          </a:prstGeom>
        </p:spPr>
      </p:pic>
      <p:pic>
        <p:nvPicPr>
          <p:cNvPr id="13" name="logo_sort" descr="A close up of a logo&#10;&#10;Description automatically generated" hidden="1">
            <a:extLst>
              <a:ext uri="{FF2B5EF4-FFF2-40B4-BE49-F238E27FC236}">
                <a16:creationId xmlns:a16="http://schemas.microsoft.com/office/drawing/2014/main" id="{BC3ACF6B-A605-4128-AA4A-30AA31F2178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4906" y="6521361"/>
            <a:ext cx="1425557" cy="108000"/>
          </a:xfrm>
          <a:prstGeom prst="rect">
            <a:avLst/>
          </a:prstGeom>
        </p:spPr>
      </p:pic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9F8657B-B408-4751-A670-61A5A22776E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944906" y="6521361"/>
            <a:ext cx="1422178" cy="104413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 b="0"/>
            </a:lvl1pPr>
          </a:lstStyle>
          <a:p>
            <a:pPr lvl="0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782027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med bilde (V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DD993DC-AC96-49BE-A38A-BA65A94856A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810001" cy="6858000"/>
          </a:xfrm>
        </p:spPr>
        <p:txBody>
          <a:bodyPr/>
          <a:lstStyle/>
          <a:p>
            <a:endParaRPr lang="nb-NO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E932CF-A433-4359-A40C-4FAF0CF117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0052" y="514410"/>
            <a:ext cx="6823748" cy="1077218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en-US" err="1"/>
              <a:t>Overskrift</a:t>
            </a:r>
            <a:r>
              <a:rPr lang="en-US"/>
              <a:t> over </a:t>
            </a:r>
            <a:r>
              <a:rPr lang="en-US" err="1"/>
              <a:t>maks</a:t>
            </a:r>
            <a:r>
              <a:rPr lang="en-US"/>
              <a:t> to </a:t>
            </a:r>
            <a:r>
              <a:rPr lang="en-US" err="1"/>
              <a:t>linjer</a:t>
            </a:r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107523-5338-4032-A2CC-D726BD0FC3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8663" y="6401593"/>
            <a:ext cx="3081338" cy="365125"/>
          </a:xfrm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8CCC97-1455-4FC6-9065-263008AB3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fld id="{87AFF737-8834-469A-9016-7BBDA59936F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92B9BA-98D9-4B42-B749-6D40147236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30052" y="1944686"/>
            <a:ext cx="6823748" cy="4291810"/>
          </a:xfrm>
          <a:prstGeom prst="rect">
            <a:avLst/>
          </a:prstGeom>
        </p:spPr>
        <p:txBody>
          <a:bodyPr lIns="0" tIns="0" rIns="0" bIns="0"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820842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 med bilde (H)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E932CF-A433-4359-A40C-4FAF0CF117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1" y="514410"/>
            <a:ext cx="4787388" cy="1077218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en-US" err="1"/>
              <a:t>Overskrift</a:t>
            </a:r>
            <a:r>
              <a:rPr lang="en-US"/>
              <a:t> over </a:t>
            </a:r>
            <a:r>
              <a:rPr lang="en-US" err="1"/>
              <a:t>maks</a:t>
            </a:r>
            <a:r>
              <a:rPr lang="en-US"/>
              <a:t> to </a:t>
            </a:r>
            <a:r>
              <a:rPr lang="en-US" err="1"/>
              <a:t>linjer</a:t>
            </a:r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107523-5338-4032-A2CC-D726BD0FC3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/>
            </a:lvl1pPr>
          </a:lstStyle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8CCC97-1455-4FC6-9065-263008AB3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/>
            </a:lvl1pPr>
          </a:lstStyle>
          <a:p>
            <a:fld id="{87AFF737-8834-469A-9016-7BBDA59936F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92B9BA-98D9-4B42-B749-6D40147236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944686"/>
            <a:ext cx="4787389" cy="4291810"/>
          </a:xfrm>
          <a:prstGeom prst="rect">
            <a:avLst/>
          </a:prstGeom>
        </p:spPr>
        <p:txBody>
          <a:bodyPr lIns="0" tIns="0" rIns="0" bIns="0"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349B6086-1CBC-4842-B66A-895E7B1A5D7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1" y="0"/>
            <a:ext cx="6096000" cy="6858000"/>
          </a:xfrm>
        </p:spPr>
        <p:txBody>
          <a:bodyPr/>
          <a:lstStyle/>
          <a:p>
            <a:endParaRPr lang="nb-NO"/>
          </a:p>
        </p:txBody>
      </p:sp>
      <p:pic>
        <p:nvPicPr>
          <p:cNvPr id="9" name="logo_hvit" descr="A picture containing drawing&#10;&#10;Description automatically generated" hidden="1">
            <a:extLst>
              <a:ext uri="{FF2B5EF4-FFF2-40B4-BE49-F238E27FC236}">
                <a16:creationId xmlns:a16="http://schemas.microsoft.com/office/drawing/2014/main" id="{32D0FF0A-F6EB-4136-80E4-6D56E406EA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4906" y="6521361"/>
            <a:ext cx="1426749" cy="108000"/>
          </a:xfrm>
          <a:prstGeom prst="rect">
            <a:avLst/>
          </a:prstGeom>
        </p:spPr>
      </p:pic>
      <p:pic>
        <p:nvPicPr>
          <p:cNvPr id="11" name="logo_sort" descr="A close up of a logo&#10;&#10;Description automatically generated" hidden="1">
            <a:extLst>
              <a:ext uri="{FF2B5EF4-FFF2-40B4-BE49-F238E27FC236}">
                <a16:creationId xmlns:a16="http://schemas.microsoft.com/office/drawing/2014/main" id="{F999BB4E-7DDD-4A55-B375-0E7E3638040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4906" y="6521361"/>
            <a:ext cx="1425557" cy="108000"/>
          </a:xfrm>
          <a:prstGeom prst="rect">
            <a:avLst/>
          </a:prstGeom>
        </p:spPr>
      </p:pic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C86949ED-8606-4108-A8B5-E4ECDFA1BCCC}"/>
              </a:ext>
            </a:extLst>
          </p:cNvPr>
          <p:cNvSpPr/>
          <p:nvPr userDrawn="1"/>
        </p:nvSpPr>
        <p:spPr>
          <a:xfrm>
            <a:off x="3853679" y="-76107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err="1"/>
              <a:t>addin_logo</a:t>
            </a:r>
            <a:endParaRPr lang="nb-NO" sz="900"/>
          </a:p>
        </p:txBody>
      </p:sp>
      <p:sp>
        <p:nvSpPr>
          <p:cNvPr id="15" name="addin_grouplist" hidden="1">
            <a:extLst>
              <a:ext uri="{FF2B5EF4-FFF2-40B4-BE49-F238E27FC236}">
                <a16:creationId xmlns:a16="http://schemas.microsoft.com/office/drawing/2014/main" id="{135AD465-4651-4252-A7A1-C80A6A26771A}"/>
              </a:ext>
            </a:extLst>
          </p:cNvPr>
          <p:cNvSpPr/>
          <p:nvPr userDrawn="1"/>
        </p:nvSpPr>
        <p:spPr>
          <a:xfrm>
            <a:off x="672101" y="-75321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logo_changer</a:t>
            </a:r>
            <a:endParaRPr lang="nb-NO" sz="9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ABB008A-C585-402B-938E-D53A500C940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944906" y="6521361"/>
            <a:ext cx="1422178" cy="104413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 b="0"/>
            </a:lvl1pPr>
          </a:lstStyle>
          <a:p>
            <a:pPr lvl="0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214913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 med bilde (H) #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E932CF-A433-4359-A40C-4FAF0CF117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1" y="514864"/>
            <a:ext cx="2719816" cy="107653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err="1"/>
              <a:t>Overskrift</a:t>
            </a:r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107523-5338-4032-A2CC-D726BD0FC3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401593"/>
            <a:ext cx="2719816" cy="365125"/>
          </a:xfrm>
        </p:spPr>
        <p:txBody>
          <a:bodyPr/>
          <a:lstStyle>
            <a:lvl1pPr>
              <a:defRPr b="0"/>
            </a:lvl1pPr>
          </a:lstStyle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8CCC97-1455-4FC6-9065-263008AB3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/>
            </a:lvl1pPr>
          </a:lstStyle>
          <a:p>
            <a:fld id="{87AFF737-8834-469A-9016-7BBDA59936F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349B6086-1CBC-4842-B66A-895E7B1A5D7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948113" y="0"/>
            <a:ext cx="8243888" cy="6858000"/>
          </a:xfrm>
        </p:spPr>
        <p:txBody>
          <a:bodyPr/>
          <a:lstStyle/>
          <a:p>
            <a:endParaRPr lang="nb-NO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E492E81B-43E3-48FF-B489-A3558BB6510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8201" y="1944686"/>
            <a:ext cx="2719816" cy="4291810"/>
          </a:xfrm>
          <a:prstGeom prst="rect">
            <a:avLst/>
          </a:prstGeom>
        </p:spPr>
        <p:txBody>
          <a:bodyPr lIns="0" tIns="0" rIns="0" bIns="0"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pic>
        <p:nvPicPr>
          <p:cNvPr id="14" name="logo_hvit" descr="A picture containing drawing&#10;&#10;Description automatically generated" hidden="1">
            <a:extLst>
              <a:ext uri="{FF2B5EF4-FFF2-40B4-BE49-F238E27FC236}">
                <a16:creationId xmlns:a16="http://schemas.microsoft.com/office/drawing/2014/main" id="{8102C903-FBDA-4109-845B-13BDDD6B57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4906" y="6521361"/>
            <a:ext cx="1426749" cy="108000"/>
          </a:xfrm>
          <a:prstGeom prst="rect">
            <a:avLst/>
          </a:prstGeom>
        </p:spPr>
      </p:pic>
      <p:pic>
        <p:nvPicPr>
          <p:cNvPr id="15" name="logo_sort" descr="A close up of a logo&#10;&#10;Description automatically generated" hidden="1">
            <a:extLst>
              <a:ext uri="{FF2B5EF4-FFF2-40B4-BE49-F238E27FC236}">
                <a16:creationId xmlns:a16="http://schemas.microsoft.com/office/drawing/2014/main" id="{F3007C33-4589-406C-A6B6-96F8CA946C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4906" y="6521361"/>
            <a:ext cx="1425557" cy="108000"/>
          </a:xfrm>
          <a:prstGeom prst="rect">
            <a:avLst/>
          </a:prstGeom>
        </p:spPr>
      </p:pic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B6F5146D-162B-4E82-96D6-A8C2B3947BD1}"/>
              </a:ext>
            </a:extLst>
          </p:cNvPr>
          <p:cNvSpPr/>
          <p:nvPr userDrawn="1"/>
        </p:nvSpPr>
        <p:spPr>
          <a:xfrm>
            <a:off x="3853679" y="-76107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err="1"/>
              <a:t>addin_logo</a:t>
            </a:r>
            <a:endParaRPr lang="nb-NO" sz="900"/>
          </a:p>
        </p:txBody>
      </p:sp>
      <p:sp>
        <p:nvSpPr>
          <p:cNvPr id="18" name="addin_grouplist" hidden="1">
            <a:extLst>
              <a:ext uri="{FF2B5EF4-FFF2-40B4-BE49-F238E27FC236}">
                <a16:creationId xmlns:a16="http://schemas.microsoft.com/office/drawing/2014/main" id="{01916075-28FB-44A0-97E3-C257832F78E9}"/>
              </a:ext>
            </a:extLst>
          </p:cNvPr>
          <p:cNvSpPr/>
          <p:nvPr userDrawn="1"/>
        </p:nvSpPr>
        <p:spPr>
          <a:xfrm>
            <a:off x="672101" y="-75321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logo_changer</a:t>
            </a:r>
            <a:endParaRPr lang="nb-NO" sz="9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FF13D9CD-52E2-4FC2-9292-06A6A05202F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944906" y="6521361"/>
            <a:ext cx="1422178" cy="104413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 b="0"/>
            </a:lvl1pPr>
          </a:lstStyle>
          <a:p>
            <a:pPr lvl="0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137656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med bilder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E932CF-A433-4359-A40C-4FAF0CF117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514410"/>
            <a:ext cx="6705600" cy="1077218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en-US" err="1"/>
              <a:t>Overskrift</a:t>
            </a:r>
            <a:r>
              <a:rPr lang="en-US"/>
              <a:t> over </a:t>
            </a:r>
            <a:r>
              <a:rPr lang="en-US" err="1"/>
              <a:t>maks</a:t>
            </a:r>
            <a:r>
              <a:rPr lang="en-US"/>
              <a:t> to </a:t>
            </a:r>
            <a:r>
              <a:rPr lang="en-US" err="1"/>
              <a:t>linjer</a:t>
            </a:r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107523-5338-4032-A2CC-D726BD0FC3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/>
            </a:lvl1pPr>
          </a:lstStyle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8CCC97-1455-4FC6-9065-263008AB3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/>
            </a:lvl1pPr>
          </a:lstStyle>
          <a:p>
            <a:fld id="{87AFF737-8834-469A-9016-7BBDA59936F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92B9BA-98D9-4B42-B749-6D40147236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199" y="4826790"/>
            <a:ext cx="3197224" cy="1358504"/>
          </a:xfrm>
          <a:prstGeom prst="rect">
            <a:avLst/>
          </a:prstGeom>
        </p:spPr>
        <p:txBody>
          <a:bodyPr lIns="0" tIns="0" rIns="0" bIns="0"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DD993DC-AC96-49BE-A38A-BA65A94856A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38199" y="1944687"/>
            <a:ext cx="3197224" cy="2717007"/>
          </a:xfrm>
        </p:spPr>
        <p:txBody>
          <a:bodyPr/>
          <a:lstStyle/>
          <a:p>
            <a:endParaRPr lang="nb-NO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349B6086-1CBC-4842-B66A-895E7B1A5D7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19558" y="1944687"/>
            <a:ext cx="3197224" cy="2717007"/>
          </a:xfrm>
        </p:spPr>
        <p:txBody>
          <a:bodyPr/>
          <a:lstStyle/>
          <a:p>
            <a:endParaRPr lang="nb-NO"/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2B39DEC3-1888-4095-98CE-7106A1D231F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89145" y="1944686"/>
            <a:ext cx="3197224" cy="2717007"/>
          </a:xfrm>
        </p:spPr>
        <p:txBody>
          <a:bodyPr/>
          <a:lstStyle/>
          <a:p>
            <a:endParaRPr lang="nb-NO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73EA6110-87F0-4A5C-995C-528EC4C53B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19558" y="4826790"/>
            <a:ext cx="3197224" cy="1358504"/>
          </a:xfrm>
          <a:prstGeom prst="rect">
            <a:avLst/>
          </a:prstGeom>
        </p:spPr>
        <p:txBody>
          <a:bodyPr lIns="0" tIns="0" rIns="0" bIns="0"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AB4BC7F-0C6D-4C89-8E2F-788F97367BA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89145" y="4826790"/>
            <a:ext cx="3197224" cy="1358504"/>
          </a:xfrm>
          <a:prstGeom prst="rect">
            <a:avLst/>
          </a:prstGeom>
        </p:spPr>
        <p:txBody>
          <a:bodyPr lIns="0" tIns="0" rIns="0" bIns="0"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719319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AAAB15-FFE5-4C8D-ADBE-67C242D644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27267"/>
            <a:ext cx="10515600" cy="716674"/>
          </a:xfrm>
        </p:spPr>
        <p:txBody>
          <a:bodyPr anchor="t"/>
          <a:lstStyle>
            <a:lvl1pPr algn="ctr">
              <a:defRPr sz="1800" b="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9378535-920D-456B-817D-7BC5E6AA3E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/>
            </a:lvl1pPr>
          </a:lstStyle>
          <a:p>
            <a:endParaRPr lang="nb-NO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05E94FA-D334-43C6-8C96-F77469F61A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/>
            </a:lvl1pPr>
          </a:lstStyle>
          <a:p>
            <a:fld id="{87AFF737-8834-469A-9016-7BBDA59936F1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260436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re overskrift med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386B760-F84F-4B3E-A137-12253845541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nb-NO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6AAAB15-FFE5-4C8D-ADBE-67C242D644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27267"/>
            <a:ext cx="10515600" cy="716674"/>
          </a:xfrm>
        </p:spPr>
        <p:txBody>
          <a:bodyPr anchor="t"/>
          <a:lstStyle>
            <a:lvl1pPr algn="ctr"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9378535-920D-456B-817D-7BC5E6AA3E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/>
            </a:lvl1pPr>
          </a:lstStyle>
          <a:p>
            <a:endParaRPr lang="nb-NO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05E94FA-D334-43C6-8C96-F77469F61A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/>
            </a:lvl1pPr>
          </a:lstStyle>
          <a:p>
            <a:fld id="{87AFF737-8834-469A-9016-7BBDA59936F1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2" name="logo_hvit" descr="A picture containing drawing&#10;&#10;Description automatically generated" hidden="1">
            <a:extLst>
              <a:ext uri="{FF2B5EF4-FFF2-40B4-BE49-F238E27FC236}">
                <a16:creationId xmlns:a16="http://schemas.microsoft.com/office/drawing/2014/main" id="{33163BA1-6390-4B8A-9563-B47D03FED8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4906" y="6521361"/>
            <a:ext cx="1426749" cy="108000"/>
          </a:xfrm>
          <a:prstGeom prst="rect">
            <a:avLst/>
          </a:prstGeom>
        </p:spPr>
      </p:pic>
      <p:pic>
        <p:nvPicPr>
          <p:cNvPr id="15" name="logo_sort" descr="A close up of a logo&#10;&#10;Description automatically generated" hidden="1">
            <a:extLst>
              <a:ext uri="{FF2B5EF4-FFF2-40B4-BE49-F238E27FC236}">
                <a16:creationId xmlns:a16="http://schemas.microsoft.com/office/drawing/2014/main" id="{96AA067C-023F-4039-A4E4-AAF28C93C3F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4906" y="6521361"/>
            <a:ext cx="1425557" cy="108000"/>
          </a:xfrm>
          <a:prstGeom prst="rect">
            <a:avLst/>
          </a:prstGeom>
        </p:spPr>
      </p:pic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38CE9065-7145-4337-BD0E-E6F480570328}"/>
              </a:ext>
            </a:extLst>
          </p:cNvPr>
          <p:cNvSpPr/>
          <p:nvPr userDrawn="1"/>
        </p:nvSpPr>
        <p:spPr>
          <a:xfrm>
            <a:off x="3853679" y="-76107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err="1"/>
              <a:t>addin_logo</a:t>
            </a:r>
            <a:endParaRPr lang="nb-NO" sz="900"/>
          </a:p>
        </p:txBody>
      </p:sp>
      <p:sp>
        <p:nvSpPr>
          <p:cNvPr id="18" name="addin_grouplist" hidden="1">
            <a:extLst>
              <a:ext uri="{FF2B5EF4-FFF2-40B4-BE49-F238E27FC236}">
                <a16:creationId xmlns:a16="http://schemas.microsoft.com/office/drawing/2014/main" id="{9A3ED4EB-FAD8-441A-B408-11B864A45D61}"/>
              </a:ext>
            </a:extLst>
          </p:cNvPr>
          <p:cNvSpPr/>
          <p:nvPr userDrawn="1"/>
        </p:nvSpPr>
        <p:spPr>
          <a:xfrm>
            <a:off x="672101" y="-75321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logo_changer</a:t>
            </a:r>
            <a:endParaRPr lang="nb-NO" sz="9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E544C96D-8E96-4DA5-89AA-BA3C23D8631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944906" y="6521361"/>
            <a:ext cx="1422178" cy="104413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 b="0"/>
            </a:lvl1pPr>
          </a:lstStyle>
          <a:p>
            <a:pPr lvl="0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0427116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138486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ed bilde (H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logo_sort" hidden="1">
            <a:extLst>
              <a:ext uri="{FF2B5EF4-FFF2-40B4-BE49-F238E27FC236}">
                <a16:creationId xmlns:a16="http://schemas.microsoft.com/office/drawing/2014/main" id="{AB0D71F0-0134-4195-BB76-BC79BE0F5BD4}"/>
              </a:ext>
            </a:extLst>
          </p:cNvPr>
          <p:cNvGrpSpPr/>
          <p:nvPr userDrawn="1"/>
        </p:nvGrpSpPr>
        <p:grpSpPr>
          <a:xfrm>
            <a:off x="2278743" y="725002"/>
            <a:ext cx="3814762" cy="2851854"/>
            <a:chOff x="2278743" y="725002"/>
            <a:chExt cx="3814762" cy="2851854"/>
          </a:xfrm>
        </p:grpSpPr>
        <p:sp>
          <p:nvSpPr>
            <p:cNvPr id="25" name="Rektangel 24">
              <a:extLst>
                <a:ext uri="{FF2B5EF4-FFF2-40B4-BE49-F238E27FC236}">
                  <a16:creationId xmlns:a16="http://schemas.microsoft.com/office/drawing/2014/main" id="{8B7E4BBE-EED8-4927-94A7-B7FA81BDDEBB}"/>
                </a:ext>
              </a:extLst>
            </p:cNvPr>
            <p:cNvSpPr/>
            <p:nvPr userDrawn="1"/>
          </p:nvSpPr>
          <p:spPr>
            <a:xfrm>
              <a:off x="2278743" y="725002"/>
              <a:ext cx="3814762" cy="2851854"/>
            </a:xfrm>
            <a:prstGeom prst="rect">
              <a:avLst/>
            </a:prstGeom>
            <a:solidFill>
              <a:srgbClr val="D0EA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26" name="Bilde 25">
              <a:extLst>
                <a:ext uri="{FF2B5EF4-FFF2-40B4-BE49-F238E27FC236}">
                  <a16:creationId xmlns:a16="http://schemas.microsoft.com/office/drawing/2014/main" id="{AD557D76-995C-41AF-BBCC-EC9471EBC65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3082089" y="1021873"/>
              <a:ext cx="2209256" cy="2176526"/>
            </a:xfrm>
            <a:prstGeom prst="rect">
              <a:avLst/>
            </a:prstGeom>
          </p:spPr>
        </p:pic>
      </p:grpSp>
      <p:grpSp>
        <p:nvGrpSpPr>
          <p:cNvPr id="6" name="logo_hvit">
            <a:extLst>
              <a:ext uri="{FF2B5EF4-FFF2-40B4-BE49-F238E27FC236}">
                <a16:creationId xmlns:a16="http://schemas.microsoft.com/office/drawing/2014/main" id="{EE99034C-DD43-44B4-BE59-D6AC14880FE2}"/>
              </a:ext>
            </a:extLst>
          </p:cNvPr>
          <p:cNvGrpSpPr/>
          <p:nvPr userDrawn="1"/>
        </p:nvGrpSpPr>
        <p:grpSpPr>
          <a:xfrm>
            <a:off x="2588859" y="725002"/>
            <a:ext cx="3195990" cy="2770267"/>
            <a:chOff x="2588859" y="725002"/>
            <a:chExt cx="3195990" cy="2770267"/>
          </a:xfrm>
        </p:grpSpPr>
        <p:sp>
          <p:nvSpPr>
            <p:cNvPr id="22" name="Rektangel 21">
              <a:extLst>
                <a:ext uri="{FF2B5EF4-FFF2-40B4-BE49-F238E27FC236}">
                  <a16:creationId xmlns:a16="http://schemas.microsoft.com/office/drawing/2014/main" id="{DB1653C6-7C24-4C8F-BFFC-A5850901E10E}"/>
                </a:ext>
              </a:extLst>
            </p:cNvPr>
            <p:cNvSpPr/>
            <p:nvPr userDrawn="1"/>
          </p:nvSpPr>
          <p:spPr>
            <a:xfrm>
              <a:off x="2588859" y="725002"/>
              <a:ext cx="3195990" cy="2770267"/>
            </a:xfrm>
            <a:prstGeom prst="rect">
              <a:avLst/>
            </a:prstGeom>
            <a:solidFill>
              <a:srgbClr val="0925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23" name="Bilde 22">
              <a:extLst>
                <a:ext uri="{FF2B5EF4-FFF2-40B4-BE49-F238E27FC236}">
                  <a16:creationId xmlns:a16="http://schemas.microsoft.com/office/drawing/2014/main" id="{E7AAD9CC-77B1-4ADC-AD83-6D7E5AC03CB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3082089" y="1021873"/>
              <a:ext cx="2209256" cy="2176526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D90EC18-B2B0-476F-9B79-1FAB5B83243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395766" y="3658443"/>
            <a:ext cx="7581901" cy="1200329"/>
          </a:xfrm>
        </p:spPr>
        <p:txBody>
          <a:bodyPr anchor="b">
            <a:noAutofit/>
          </a:bodyPr>
          <a:lstStyle>
            <a:lvl1pPr algn="ctr">
              <a:defRPr sz="3600" b="0">
                <a:solidFill>
                  <a:schemeClr val="accent2"/>
                </a:solidFill>
              </a:defRPr>
            </a:lvl1pPr>
          </a:lstStyle>
          <a:p>
            <a:r>
              <a:rPr lang="en-US" err="1"/>
              <a:t>Overskrift</a:t>
            </a:r>
            <a:r>
              <a:rPr lang="en-US"/>
              <a:t> over </a:t>
            </a:r>
            <a:r>
              <a:rPr lang="en-US" err="1"/>
              <a:t>én</a:t>
            </a:r>
            <a:r>
              <a:rPr lang="en-US"/>
              <a:t> </a:t>
            </a:r>
            <a:r>
              <a:rPr lang="en-US" err="1"/>
              <a:t>linje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eller</a:t>
            </a:r>
            <a:r>
              <a:rPr lang="en-US"/>
              <a:t> </a:t>
            </a:r>
            <a:r>
              <a:rPr lang="en-US" err="1"/>
              <a:t>maks</a:t>
            </a:r>
            <a:r>
              <a:rPr lang="en-US"/>
              <a:t> to </a:t>
            </a:r>
            <a:r>
              <a:rPr lang="en-US" err="1"/>
              <a:t>linjer</a:t>
            </a:r>
            <a:endParaRPr lang="nb-NO"/>
          </a:p>
        </p:txBody>
      </p:sp>
      <p:sp>
        <p:nvSpPr>
          <p:cNvPr id="3" name="VM_Subtitle">
            <a:extLst>
              <a:ext uri="{FF2B5EF4-FFF2-40B4-BE49-F238E27FC236}">
                <a16:creationId xmlns:a16="http://schemas.microsoft.com/office/drawing/2014/main" id="{BE245B31-256B-4724-9A48-52FAF0FEBD18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395766" y="4895559"/>
            <a:ext cx="7581901" cy="720000"/>
          </a:xfrm>
        </p:spPr>
        <p:txBody>
          <a:bodyPr tIns="0" bIns="0">
            <a:noAutofit/>
          </a:bodyPr>
          <a:lstStyle>
            <a:lvl1pPr marL="0" indent="0" algn="ctr">
              <a:buNone/>
              <a:defRPr sz="2000" b="0">
                <a:solidFill>
                  <a:schemeClr val="accent2"/>
                </a:solidFill>
                <a:latin typeface="Vinmonopolet Ingress Medium" panose="000006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err="1"/>
              <a:t>Undertittel</a:t>
            </a:r>
            <a:r>
              <a:rPr lang="en-US"/>
              <a:t> over </a:t>
            </a:r>
            <a:r>
              <a:rPr lang="en-US" err="1"/>
              <a:t>én</a:t>
            </a:r>
            <a:r>
              <a:rPr lang="en-US"/>
              <a:t> </a:t>
            </a:r>
            <a:r>
              <a:rPr lang="en-US" err="1"/>
              <a:t>linje</a:t>
            </a:r>
            <a:endParaRPr lang="nb-NO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FD957DBD-2D0C-4857-BFDE-FCA73EF5FE7D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>
          <a:xfrm>
            <a:off x="2686050" y="5997106"/>
            <a:ext cx="3098799" cy="365125"/>
          </a:xfrm>
          <a:prstGeom prst="rect">
            <a:avLst/>
          </a:prstGeom>
        </p:spPr>
        <p:txBody>
          <a:bodyPr/>
          <a:lstStyle>
            <a:lvl1pPr algn="ctr">
              <a:defRPr sz="1400" b="0">
                <a:solidFill>
                  <a:schemeClr val="accent2"/>
                </a:solidFill>
              </a:defRPr>
            </a:lvl1pPr>
          </a:lstStyle>
          <a:p>
            <a:fld id="{05FCA8A3-9B33-404F-A49C-AB7FF6A9146C}" type="datetimeFigureOut">
              <a:rPr lang="nb-NO" smtClean="0"/>
              <a:pPr/>
              <a:t>26.11.2025</a:t>
            </a:fld>
            <a:endParaRPr lang="nb-NO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BEAB656B-DCF4-4A99-87D3-2CA463ABC9D2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8377238" y="0"/>
            <a:ext cx="3814762" cy="6858000"/>
          </a:xfrm>
          <a:blipFill dpi="0" rotWithShape="1">
            <a:blip r:embed="rId4"/>
            <a:srcRect/>
            <a:tile tx="0" ty="0" sx="55000" sy="55000" flip="none" algn="tl"/>
          </a:blipFill>
        </p:spPr>
        <p:txBody>
          <a:bodyPr/>
          <a:lstStyle/>
          <a:p>
            <a:endParaRPr lang="nb-NO"/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A9BC8820-FFC0-46B9-88EE-041D6C9349B2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clr1, clr2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5C9AB903-EDD1-42AB-98E0-1EF43638566C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background" hidden="1">
            <a:extLst>
              <a:ext uri="{FF2B5EF4-FFF2-40B4-BE49-F238E27FC236}">
                <a16:creationId xmlns:a16="http://schemas.microsoft.com/office/drawing/2014/main" id="{B71446BD-3F17-4E68-B492-3B3BFA181E4E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15" name="addin_logo" hidden="1">
            <a:extLst>
              <a:ext uri="{FF2B5EF4-FFF2-40B4-BE49-F238E27FC236}">
                <a16:creationId xmlns:a16="http://schemas.microsoft.com/office/drawing/2014/main" id="{48B32FFB-F2F9-4369-B734-6477423AF653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28CE6DDF-629C-4BBB-891F-FCADCD3DAC2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33B1D2DD-EF9A-407C-92EC-2D9B663DFB6D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4321114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side (H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386B760-F84F-4B3E-A137-12253845541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nb-NO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6AAAB15-FFE5-4C8D-ADBE-67C242D644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08529" y="2855614"/>
            <a:ext cx="4566701" cy="1146771"/>
          </a:xfrm>
          <a:solidFill>
            <a:schemeClr val="accent1"/>
          </a:solidFill>
        </p:spPr>
        <p:txBody>
          <a:bodyPr lIns="360000" tIns="288000" rIns="360000" bIns="360000" anchor="ctr" anchorCtr="0">
            <a:spAutoFit/>
          </a:bodyPr>
          <a:lstStyle>
            <a:lvl1pPr algn="ctr">
              <a:defRPr sz="3200" b="0">
                <a:solidFill>
                  <a:schemeClr val="accent2"/>
                </a:solidFill>
              </a:defRPr>
            </a:lvl1pPr>
          </a:lstStyle>
          <a:p>
            <a:r>
              <a:rPr lang="en-US" err="1"/>
              <a:t>Tekst</a:t>
            </a:r>
            <a:endParaRPr lang="nb-NO"/>
          </a:p>
        </p:txBody>
      </p:sp>
      <p:sp>
        <p:nvSpPr>
          <p:cNvPr id="6" name="addin_colorbox" hidden="1">
            <a:extLst>
              <a:ext uri="{FF2B5EF4-FFF2-40B4-BE49-F238E27FC236}">
                <a16:creationId xmlns:a16="http://schemas.microsoft.com/office/drawing/2014/main" id="{A64292E1-2174-4A8D-9287-5FEA6E4789F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7" name="addin_title" hidden="1">
            <a:extLst>
              <a:ext uri="{FF2B5EF4-FFF2-40B4-BE49-F238E27FC236}">
                <a16:creationId xmlns:a16="http://schemas.microsoft.com/office/drawing/2014/main" id="{4F080A77-EF18-4D5F-ADC4-A5F1332051E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154775D-C363-4B2C-BD2F-797D73533BF8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bilfor1, bilfor4</a:t>
            </a:r>
          </a:p>
        </p:txBody>
      </p:sp>
      <p:sp>
        <p:nvSpPr>
          <p:cNvPr id="10" name="addin_fillplaceholders" hidden="1">
            <a:extLst>
              <a:ext uri="{FF2B5EF4-FFF2-40B4-BE49-F238E27FC236}">
                <a16:creationId xmlns:a16="http://schemas.microsoft.com/office/drawing/2014/main" id="{66A460D5-BC07-4842-86F8-C13773239F5F}"/>
              </a:ext>
            </a:extLst>
          </p:cNvPr>
          <p:cNvSpPr/>
          <p:nvPr userDrawn="1"/>
        </p:nvSpPr>
        <p:spPr>
          <a:xfrm>
            <a:off x="2509194" y="-842705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C2C8DDF8-0DF9-4A8A-82B6-365A17829BE7}"/>
              </a:ext>
            </a:extLst>
          </p:cNvPr>
          <p:cNvSpPr/>
          <p:nvPr userDrawn="1"/>
        </p:nvSpPr>
        <p:spPr>
          <a:xfrm>
            <a:off x="0" y="-842705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796608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side (V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386B760-F84F-4B3E-A137-12253845541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nb-NO"/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7B5ADD55-3B0C-4A2F-AFFF-E6D427BC68E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B84429B1-1D84-48B3-8EE4-D69125C2715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7" name="addin_colorlist" hidden="1">
            <a:extLst>
              <a:ext uri="{FF2B5EF4-FFF2-40B4-BE49-F238E27FC236}">
                <a16:creationId xmlns:a16="http://schemas.microsoft.com/office/drawing/2014/main" id="{229D996D-8B8C-420A-A7E0-2CF498F740A4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bilfor1, bilfor4</a:t>
            </a:r>
          </a:p>
        </p:txBody>
      </p:sp>
      <p:sp>
        <p:nvSpPr>
          <p:cNvPr id="8" name="addin_fillplaceholders" hidden="1">
            <a:extLst>
              <a:ext uri="{FF2B5EF4-FFF2-40B4-BE49-F238E27FC236}">
                <a16:creationId xmlns:a16="http://schemas.microsoft.com/office/drawing/2014/main" id="{919CCCF3-20FD-4C86-A1F8-CF5EEF3BB8AA}"/>
              </a:ext>
            </a:extLst>
          </p:cNvPr>
          <p:cNvSpPr/>
          <p:nvPr userDrawn="1"/>
        </p:nvSpPr>
        <p:spPr>
          <a:xfrm>
            <a:off x="2509194" y="-842705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9" name="addin_text" hidden="1">
            <a:extLst>
              <a:ext uri="{FF2B5EF4-FFF2-40B4-BE49-F238E27FC236}">
                <a16:creationId xmlns:a16="http://schemas.microsoft.com/office/drawing/2014/main" id="{378E84EB-3286-4571-BB84-AE5D50E07CD1}"/>
              </a:ext>
            </a:extLst>
          </p:cNvPr>
          <p:cNvSpPr/>
          <p:nvPr userDrawn="1"/>
        </p:nvSpPr>
        <p:spPr>
          <a:xfrm>
            <a:off x="0" y="-842705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0" name="VM_Subtitle">
            <a:extLst>
              <a:ext uri="{FF2B5EF4-FFF2-40B4-BE49-F238E27FC236}">
                <a16:creationId xmlns:a16="http://schemas.microsoft.com/office/drawing/2014/main" id="{CD421325-99E2-4A06-A2A4-9F373051087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20800" y="4037718"/>
            <a:ext cx="4566701" cy="1034808"/>
          </a:xfrm>
          <a:solidFill>
            <a:srgbClr val="CFE9DE"/>
          </a:solidFill>
        </p:spPr>
        <p:txBody>
          <a:bodyPr lIns="360000" tIns="360000" rIns="360000" bIns="360000" anchor="ctr" anchorCtr="0">
            <a:spAutoFit/>
          </a:bodyPr>
          <a:lstStyle>
            <a:lvl1pPr marL="0" indent="0" algn="ctr">
              <a:buNone/>
              <a:defRPr sz="2000" b="0">
                <a:solidFill>
                  <a:schemeClr val="tx1"/>
                </a:solidFill>
                <a:latin typeface="Vinmonopolet Ingress Medium" panose="000006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err="1"/>
              <a:t>Tekst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7891339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side overskrift og tekst (V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386B760-F84F-4B3E-A137-12253845541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nb-NO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6AAAB15-FFE5-4C8D-ADBE-67C242D644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800" y="624763"/>
            <a:ext cx="4566701" cy="5608474"/>
          </a:xfrm>
          <a:solidFill>
            <a:schemeClr val="accent2"/>
          </a:solidFill>
        </p:spPr>
        <p:txBody>
          <a:bodyPr lIns="360000" tIns="514800" rIns="360000" anchor="t"/>
          <a:lstStyle>
            <a:lvl1pPr algn="ctr">
              <a:defRPr sz="3200" b="0">
                <a:solidFill>
                  <a:schemeClr val="tx1"/>
                </a:solidFill>
              </a:defRPr>
            </a:lvl1pPr>
          </a:lstStyle>
          <a:p>
            <a:r>
              <a:rPr lang="en-US" err="1"/>
              <a:t>Overskrift</a:t>
            </a:r>
            <a:endParaRPr lang="nb-NO"/>
          </a:p>
        </p:txBody>
      </p:sp>
      <p:sp>
        <p:nvSpPr>
          <p:cNvPr id="6" name="addin_colorbox" hidden="1">
            <a:extLst>
              <a:ext uri="{FF2B5EF4-FFF2-40B4-BE49-F238E27FC236}">
                <a16:creationId xmlns:a16="http://schemas.microsoft.com/office/drawing/2014/main" id="{9723F970-A8E2-4C49-A9CD-AEEA4933F2E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7" name="addin_title" hidden="1">
            <a:extLst>
              <a:ext uri="{FF2B5EF4-FFF2-40B4-BE49-F238E27FC236}">
                <a16:creationId xmlns:a16="http://schemas.microsoft.com/office/drawing/2014/main" id="{9C6C1428-F977-4637-9850-EDBC0C67CE6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8" name="addin_colorlist" hidden="1">
            <a:extLst>
              <a:ext uri="{FF2B5EF4-FFF2-40B4-BE49-F238E27FC236}">
                <a16:creationId xmlns:a16="http://schemas.microsoft.com/office/drawing/2014/main" id="{6DF6E8D4-9449-4F9D-98FC-A96220E6B8C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bilfor1, bilfor4 </a:t>
            </a:r>
          </a:p>
        </p:txBody>
      </p:sp>
      <p:sp>
        <p:nvSpPr>
          <p:cNvPr id="9" name="addin_fillplaceholders" hidden="1">
            <a:extLst>
              <a:ext uri="{FF2B5EF4-FFF2-40B4-BE49-F238E27FC236}">
                <a16:creationId xmlns:a16="http://schemas.microsoft.com/office/drawing/2014/main" id="{B6939FC3-D2FE-41D8-A962-B9ABAB3A0BA8}"/>
              </a:ext>
            </a:extLst>
          </p:cNvPr>
          <p:cNvSpPr/>
          <p:nvPr userDrawn="1"/>
        </p:nvSpPr>
        <p:spPr>
          <a:xfrm>
            <a:off x="2509194" y="-842705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10" name="addin_text" hidden="1">
            <a:extLst>
              <a:ext uri="{FF2B5EF4-FFF2-40B4-BE49-F238E27FC236}">
                <a16:creationId xmlns:a16="http://schemas.microsoft.com/office/drawing/2014/main" id="{D61EB33E-2AD5-4643-B297-FF5E348E607B}"/>
              </a:ext>
            </a:extLst>
          </p:cNvPr>
          <p:cNvSpPr/>
          <p:nvPr userDrawn="1"/>
        </p:nvSpPr>
        <p:spPr>
          <a:xfrm>
            <a:off x="0" y="-842705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1" name="VM_Subtitle">
            <a:extLst>
              <a:ext uri="{FF2B5EF4-FFF2-40B4-BE49-F238E27FC236}">
                <a16:creationId xmlns:a16="http://schemas.microsoft.com/office/drawing/2014/main" id="{6F5F9A93-31B7-4BFB-AEA0-099E085620D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20800" y="2384437"/>
            <a:ext cx="4566701" cy="3848800"/>
          </a:xfrm>
        </p:spPr>
        <p:txBody>
          <a:bodyPr lIns="360000" tIns="0" rIns="360000" bIns="360000">
            <a:noAutofit/>
          </a:bodyPr>
          <a:lstStyle>
            <a:lvl1pPr marL="0" indent="0" algn="ctr">
              <a:buNone/>
              <a:defRPr sz="2000" b="0">
                <a:solidFill>
                  <a:schemeClr val="tx1"/>
                </a:solidFill>
                <a:latin typeface="Vinmonopolet Ingress Medium" panose="000006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Tekst</a:t>
            </a:r>
          </a:p>
        </p:txBody>
      </p:sp>
    </p:spTree>
    <p:extLst>
      <p:ext uri="{BB962C8B-B14F-4D97-AF65-F5344CB8AC3E}">
        <p14:creationId xmlns:p14="http://schemas.microsoft.com/office/powerpoint/2010/main" val="179445907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side #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M_Title">
            <a:extLst>
              <a:ext uri="{FF2B5EF4-FFF2-40B4-BE49-F238E27FC236}">
                <a16:creationId xmlns:a16="http://schemas.microsoft.com/office/drawing/2014/main" id="{AD90EC18-B2B0-476F-9B79-1FAB5B83243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00262" y="2907972"/>
            <a:ext cx="7991475" cy="1042057"/>
          </a:xfrm>
        </p:spPr>
        <p:txBody>
          <a:bodyPr anchor="ctr"/>
          <a:lstStyle>
            <a:lvl1pPr algn="ctr">
              <a:defRPr sz="3200" b="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nb-NO"/>
              <a:t>Tittel eller tema og Sitat, utdrag, uthevet poeng</a:t>
            </a:r>
          </a:p>
        </p:txBody>
      </p:sp>
      <p:sp>
        <p:nvSpPr>
          <p:cNvPr id="3" name="VM_Subtitle">
            <a:extLst>
              <a:ext uri="{FF2B5EF4-FFF2-40B4-BE49-F238E27FC236}">
                <a16:creationId xmlns:a16="http://schemas.microsoft.com/office/drawing/2014/main" id="{BE245B31-256B-4724-9A48-52FAF0FEBD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100262" y="1011920"/>
            <a:ext cx="7991475" cy="1042057"/>
          </a:xfrm>
        </p:spPr>
        <p:txBody>
          <a:bodyPr lIns="0" tIns="0" rIns="0" bIns="0" anchor="b">
            <a:normAutofit/>
          </a:bodyPr>
          <a:lstStyle>
            <a:lvl1pPr marL="0" indent="0" algn="ctr">
              <a:buNone/>
              <a:defRPr sz="1800" b="0" cap="all" spc="300" baseline="0">
                <a:solidFill>
                  <a:schemeClr val="accent2"/>
                </a:solidFill>
                <a:latin typeface="Vinmonopolet Ingress Medium" panose="000006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err="1"/>
              <a:t>Undertittel</a:t>
            </a:r>
            <a:r>
              <a:rPr lang="en-US"/>
              <a:t> over </a:t>
            </a:r>
            <a:r>
              <a:rPr lang="en-US" err="1"/>
              <a:t>en</a:t>
            </a:r>
            <a:r>
              <a:rPr lang="en-US"/>
              <a:t> </a:t>
            </a:r>
            <a:r>
              <a:rPr lang="en-US" err="1"/>
              <a:t>eller</a:t>
            </a:r>
            <a:r>
              <a:rPr lang="en-US"/>
              <a:t> to </a:t>
            </a:r>
            <a:r>
              <a:rPr lang="en-US" err="1"/>
              <a:t>linjer</a:t>
            </a:r>
            <a:endParaRPr lang="nb-NO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8A25EAF0-8FCB-4BA4-93C3-EEB388C5F69E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bilfor1, bilfor4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1A4DDD2E-5C4D-4B06-9057-545594208E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407A78A5-F0BC-4BA7-B73C-6DA26D6425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712B8231-FC45-417D-9DA2-2C3E7C0F83F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9" name="addin_background" hidden="1">
            <a:extLst>
              <a:ext uri="{FF2B5EF4-FFF2-40B4-BE49-F238E27FC236}">
                <a16:creationId xmlns:a16="http://schemas.microsoft.com/office/drawing/2014/main" id="{708756A3-4A4A-4AB4-B39D-22C223C29846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801323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side med 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7AAF840-F097-4CB1-ACC5-0FB9EC66BF4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blipFill dpi="0" rotWithShape="1">
            <a:blip r:embed="rId2"/>
            <a:srcRect/>
            <a:stretch>
              <a:fillRect b="-1"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7E0A0F-1979-4421-98E1-FDD1ED2C67F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4772" y="748144"/>
            <a:ext cx="10665228" cy="5353397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100" b="0">
                <a:solidFill>
                  <a:srgbClr val="010000"/>
                </a:solidFill>
              </a:defRPr>
            </a:lvl1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2" name="VM_Title">
            <a:extLst>
              <a:ext uri="{FF2B5EF4-FFF2-40B4-BE49-F238E27FC236}">
                <a16:creationId xmlns:a16="http://schemas.microsoft.com/office/drawing/2014/main" id="{AD90EC18-B2B0-476F-9B79-1FAB5B83243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00262" y="2907972"/>
            <a:ext cx="7991475" cy="1042057"/>
          </a:xfrm>
        </p:spPr>
        <p:txBody>
          <a:bodyPr anchor="ctr"/>
          <a:lstStyle>
            <a:lvl1pPr algn="ctr">
              <a:defRPr sz="3200" b="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nb-NO"/>
              <a:t>Tittel eller tema og Sitat, utdrag, uthevet poeng</a:t>
            </a:r>
          </a:p>
        </p:txBody>
      </p:sp>
      <p:sp>
        <p:nvSpPr>
          <p:cNvPr id="3" name="VM_Subtitle">
            <a:extLst>
              <a:ext uri="{FF2B5EF4-FFF2-40B4-BE49-F238E27FC236}">
                <a16:creationId xmlns:a16="http://schemas.microsoft.com/office/drawing/2014/main" id="{BE245B31-256B-4724-9A48-52FAF0FEBD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100262" y="1011920"/>
            <a:ext cx="7991475" cy="1042057"/>
          </a:xfrm>
        </p:spPr>
        <p:txBody>
          <a:bodyPr lIns="0" tIns="0" rIns="0" bIns="0" anchor="b">
            <a:normAutofit/>
          </a:bodyPr>
          <a:lstStyle>
            <a:lvl1pPr marL="0" indent="0" algn="ctr">
              <a:buNone/>
              <a:defRPr sz="1800" b="0" cap="all" spc="300" baseline="0">
                <a:solidFill>
                  <a:schemeClr val="accent2"/>
                </a:solidFill>
                <a:latin typeface="Vinmonopolet Ingress Medium" panose="000006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err="1"/>
              <a:t>Undertittel</a:t>
            </a:r>
            <a:r>
              <a:rPr lang="en-US"/>
              <a:t> over </a:t>
            </a:r>
            <a:r>
              <a:rPr lang="en-US" err="1"/>
              <a:t>en</a:t>
            </a:r>
            <a:r>
              <a:rPr lang="en-US"/>
              <a:t> </a:t>
            </a:r>
            <a:r>
              <a:rPr lang="en-US" err="1"/>
              <a:t>eller</a:t>
            </a:r>
            <a:r>
              <a:rPr lang="en-US"/>
              <a:t> to </a:t>
            </a:r>
            <a:r>
              <a:rPr lang="en-US" err="1"/>
              <a:t>linjer</a:t>
            </a:r>
            <a:endParaRPr lang="nb-NO"/>
          </a:p>
        </p:txBody>
      </p:sp>
      <p:sp>
        <p:nvSpPr>
          <p:cNvPr id="7" name="addin_colorlist" hidden="1">
            <a:extLst>
              <a:ext uri="{FF2B5EF4-FFF2-40B4-BE49-F238E27FC236}">
                <a16:creationId xmlns:a16="http://schemas.microsoft.com/office/drawing/2014/main" id="{C78831D7-CE08-4005-AACB-EF97BBBD9D02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900" kern="1200">
                <a:solidFill>
                  <a:schemeClr val="lt1"/>
                </a:solidFill>
                <a:latin typeface="+mn-lt"/>
                <a:ea typeface="+mn-ea"/>
                <a:cs typeface="+mn-cs"/>
              </a:rPr>
              <a:t>sitkfor1, sitkfor4</a:t>
            </a:r>
            <a:endParaRPr lang="nb-NO" sz="800"/>
          </a:p>
        </p:txBody>
      </p:sp>
      <p:sp>
        <p:nvSpPr>
          <p:cNvPr id="8" name="addin_colorbox" hidden="1">
            <a:extLst>
              <a:ext uri="{FF2B5EF4-FFF2-40B4-BE49-F238E27FC236}">
                <a16:creationId xmlns:a16="http://schemas.microsoft.com/office/drawing/2014/main" id="{0DF03280-32AE-46A4-B2DF-61EB7EDD73D9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9" name="addin_title" hidden="1">
            <a:extLst>
              <a:ext uri="{FF2B5EF4-FFF2-40B4-BE49-F238E27FC236}">
                <a16:creationId xmlns:a16="http://schemas.microsoft.com/office/drawing/2014/main" id="{FB172AD7-2129-468A-9F21-430242F2975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0" name="addin_text" hidden="1">
            <a:extLst>
              <a:ext uri="{FF2B5EF4-FFF2-40B4-BE49-F238E27FC236}">
                <a16:creationId xmlns:a16="http://schemas.microsoft.com/office/drawing/2014/main" id="{31AA11B6-EEEC-42A3-86BD-04071B6FACF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1" name="addin_image" hidden="1">
            <a:extLst>
              <a:ext uri="{FF2B5EF4-FFF2-40B4-BE49-F238E27FC236}">
                <a16:creationId xmlns:a16="http://schemas.microsoft.com/office/drawing/2014/main" id="{2B9757A9-CFC0-4B3C-B944-EC104E88181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2" name="addin_background" hidden="1">
            <a:extLst>
              <a:ext uri="{FF2B5EF4-FFF2-40B4-BE49-F238E27FC236}">
                <a16:creationId xmlns:a16="http://schemas.microsoft.com/office/drawing/2014/main" id="{0CAC7E29-3051-4997-A6C1-C6EE989617D5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1767559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FDAF3B-E714-40AA-B6CF-6DFBDC2A37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282407"/>
            <a:ext cx="10515600" cy="823912"/>
          </a:xfrm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4A7E4C1-9876-450D-9DD9-9352F7BA1F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/>
            </a:lvl1pPr>
          </a:lstStyle>
          <a:p>
            <a:endParaRPr lang="nb-NO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961F63-3E1A-409E-A8CF-CB6620CB78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/>
            </a:lvl1pPr>
          </a:lstStyle>
          <a:p>
            <a:fld id="{87AFF737-8834-469A-9016-7BBDA59936F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4" name="Chart Placeholder 13">
            <a:extLst>
              <a:ext uri="{FF2B5EF4-FFF2-40B4-BE49-F238E27FC236}">
                <a16:creationId xmlns:a16="http://schemas.microsoft.com/office/drawing/2014/main" id="{BA75B1C8-CA2C-4090-A492-7C26DAC62F36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839788" y="2505075"/>
            <a:ext cx="10515600" cy="3684588"/>
          </a:xfrm>
          <a:prstGeom prst="rect">
            <a:avLst/>
          </a:prstGeom>
        </p:spPr>
        <p:txBody>
          <a:bodyPr lIns="0" tIns="0" rIns="0" bIns="0"/>
          <a:lstStyle/>
          <a:p>
            <a:endParaRPr lang="nb-NO"/>
          </a:p>
        </p:txBody>
      </p:sp>
      <p:sp>
        <p:nvSpPr>
          <p:cNvPr id="10" name="VM_Subtitle">
            <a:extLst>
              <a:ext uri="{FF2B5EF4-FFF2-40B4-BE49-F238E27FC236}">
                <a16:creationId xmlns:a16="http://schemas.microsoft.com/office/drawing/2014/main" id="{BA773654-31E3-486F-89D6-C350CDA38EC6}"/>
              </a:ext>
            </a:extLst>
          </p:cNvPr>
          <p:cNvSpPr>
            <a:spLocks noGrp="1"/>
          </p:cNvSpPr>
          <p:nvPr>
            <p:ph type="subTitle" idx="14" hasCustomPrompt="1"/>
          </p:nvPr>
        </p:nvSpPr>
        <p:spPr>
          <a:xfrm>
            <a:off x="836612" y="1220553"/>
            <a:ext cx="10515600" cy="823912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spcBef>
                <a:spcPts val="0"/>
              </a:spcBef>
              <a:buNone/>
              <a:defRPr lang="nb-NO" sz="2000" b="0" dirty="0">
                <a:latin typeface="Vinmonopolet Ingress Medium" panose="000006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022599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utt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9FB6CDD-FC61-4DB5-879D-8C3BE7C900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534662"/>
            <a:ext cx="10515600" cy="1077218"/>
          </a:xfrm>
        </p:spPr>
        <p:txBody>
          <a:bodyPr anchor="ctr" anchorCtr="0"/>
          <a:lstStyle>
            <a:lvl1pPr algn="ctr">
              <a:defRPr sz="5400" b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7AF5AEEA-9FFC-4246-82F9-58748FFC579C}"/>
              </a:ext>
            </a:extLst>
          </p:cNvPr>
          <p:cNvSpPr/>
          <p:nvPr userDrawn="1"/>
        </p:nvSpPr>
        <p:spPr>
          <a:xfrm>
            <a:off x="24680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clr1, clr2</a:t>
            </a:r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948CABB1-B611-432B-9A0B-7444CA36BBC4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7" name="addin_logo" hidden="1">
            <a:extLst>
              <a:ext uri="{FF2B5EF4-FFF2-40B4-BE49-F238E27FC236}">
                <a16:creationId xmlns:a16="http://schemas.microsoft.com/office/drawing/2014/main" id="{704CBD70-127A-4C3B-BD87-F5292CF7CA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8" name="addin_title" hidden="1">
            <a:extLst>
              <a:ext uri="{FF2B5EF4-FFF2-40B4-BE49-F238E27FC236}">
                <a16:creationId xmlns:a16="http://schemas.microsoft.com/office/drawing/2014/main" id="{0A0330F1-B25D-4414-B938-F2BE4FA982A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0" name="addin_text" hidden="1">
            <a:extLst>
              <a:ext uri="{FF2B5EF4-FFF2-40B4-BE49-F238E27FC236}">
                <a16:creationId xmlns:a16="http://schemas.microsoft.com/office/drawing/2014/main" id="{2EC6DD96-68C4-484A-855B-95971ACC5740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08944EB4-E2DB-497C-8C0B-1FF8C37738E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16980" y="6057288"/>
            <a:ext cx="2376328" cy="180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="0"/>
            </a:lvl1pPr>
          </a:lstStyle>
          <a:p>
            <a:pPr lvl="0"/>
            <a:r>
              <a:rPr lang="nb-NO"/>
              <a:t> </a:t>
            </a:r>
          </a:p>
        </p:txBody>
      </p:sp>
      <p:pic>
        <p:nvPicPr>
          <p:cNvPr id="3" name="logo_hvit" descr="A picture containing drawing&#10;&#10;Description automatically generated" hidden="1">
            <a:extLst>
              <a:ext uri="{FF2B5EF4-FFF2-40B4-BE49-F238E27FC236}">
                <a16:creationId xmlns:a16="http://schemas.microsoft.com/office/drawing/2014/main" id="{EEEF3267-57AB-4492-A4BC-08B4C97394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6980" y="6057288"/>
            <a:ext cx="2377913" cy="180000"/>
          </a:xfrm>
          <a:prstGeom prst="rect">
            <a:avLst/>
          </a:prstGeom>
        </p:spPr>
      </p:pic>
      <p:pic>
        <p:nvPicPr>
          <p:cNvPr id="16" name="logo_sort" descr="A close up of a logo&#10;&#10;Description automatically generated" hidden="1">
            <a:extLst>
              <a:ext uri="{FF2B5EF4-FFF2-40B4-BE49-F238E27FC236}">
                <a16:creationId xmlns:a16="http://schemas.microsoft.com/office/drawing/2014/main" id="{154D2ABE-3817-4045-A854-B336989295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6981" y="6057288"/>
            <a:ext cx="2375919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7333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utt slide #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logo_hvit">
            <a:extLst>
              <a:ext uri="{FF2B5EF4-FFF2-40B4-BE49-F238E27FC236}">
                <a16:creationId xmlns:a16="http://schemas.microsoft.com/office/drawing/2014/main" id="{76D81F3A-2743-4801-B46D-201171461F8F}"/>
              </a:ext>
            </a:extLst>
          </p:cNvPr>
          <p:cNvGrpSpPr/>
          <p:nvPr userDrawn="1"/>
        </p:nvGrpSpPr>
        <p:grpSpPr>
          <a:xfrm>
            <a:off x="4159165" y="1400047"/>
            <a:ext cx="3873500" cy="3554038"/>
            <a:chOff x="4159165" y="1400047"/>
            <a:chExt cx="3873500" cy="3554038"/>
          </a:xfrm>
        </p:grpSpPr>
        <p:sp>
          <p:nvSpPr>
            <p:cNvPr id="17" name="Rektangel 16">
              <a:extLst>
                <a:ext uri="{FF2B5EF4-FFF2-40B4-BE49-F238E27FC236}">
                  <a16:creationId xmlns:a16="http://schemas.microsoft.com/office/drawing/2014/main" id="{0D4F0244-8B0A-4380-98F2-6700E23EB4AB}"/>
                </a:ext>
              </a:extLst>
            </p:cNvPr>
            <p:cNvSpPr/>
            <p:nvPr userDrawn="1"/>
          </p:nvSpPr>
          <p:spPr>
            <a:xfrm>
              <a:off x="4159165" y="1400047"/>
              <a:ext cx="3873500" cy="3554038"/>
            </a:xfrm>
            <a:prstGeom prst="rect">
              <a:avLst/>
            </a:prstGeom>
            <a:solidFill>
              <a:srgbClr val="0925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21" name="Bilde 20">
              <a:extLst>
                <a:ext uri="{FF2B5EF4-FFF2-40B4-BE49-F238E27FC236}">
                  <a16:creationId xmlns:a16="http://schemas.microsoft.com/office/drawing/2014/main" id="{00D692A6-A65C-4880-B757-9415DE3C023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4457822" y="1647136"/>
              <a:ext cx="3288892" cy="3240167"/>
            </a:xfrm>
            <a:prstGeom prst="rect">
              <a:avLst/>
            </a:prstGeom>
          </p:spPr>
        </p:pic>
      </p:grpSp>
      <p:grpSp>
        <p:nvGrpSpPr>
          <p:cNvPr id="9" name="logo_sort" hidden="1">
            <a:extLst>
              <a:ext uri="{FF2B5EF4-FFF2-40B4-BE49-F238E27FC236}">
                <a16:creationId xmlns:a16="http://schemas.microsoft.com/office/drawing/2014/main" id="{EBFA29AD-C736-468A-B870-7DFFC83C6094}"/>
              </a:ext>
            </a:extLst>
          </p:cNvPr>
          <p:cNvGrpSpPr/>
          <p:nvPr userDrawn="1"/>
        </p:nvGrpSpPr>
        <p:grpSpPr>
          <a:xfrm>
            <a:off x="4159165" y="1400047"/>
            <a:ext cx="3873500" cy="3554038"/>
            <a:chOff x="4159165" y="1400047"/>
            <a:chExt cx="3873500" cy="3554038"/>
          </a:xfrm>
        </p:grpSpPr>
        <p:sp>
          <p:nvSpPr>
            <p:cNvPr id="25" name="Rektangel 24">
              <a:extLst>
                <a:ext uri="{FF2B5EF4-FFF2-40B4-BE49-F238E27FC236}">
                  <a16:creationId xmlns:a16="http://schemas.microsoft.com/office/drawing/2014/main" id="{147ED2F2-102D-46B6-BFEB-5FF7B88D8F96}"/>
                </a:ext>
              </a:extLst>
            </p:cNvPr>
            <p:cNvSpPr/>
            <p:nvPr userDrawn="1"/>
          </p:nvSpPr>
          <p:spPr>
            <a:xfrm>
              <a:off x="4159165" y="1400047"/>
              <a:ext cx="3873500" cy="3554038"/>
            </a:xfrm>
            <a:prstGeom prst="rect">
              <a:avLst/>
            </a:prstGeom>
            <a:solidFill>
              <a:srgbClr val="CFE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24" name="Bilde 23">
              <a:extLst>
                <a:ext uri="{FF2B5EF4-FFF2-40B4-BE49-F238E27FC236}">
                  <a16:creationId xmlns:a16="http://schemas.microsoft.com/office/drawing/2014/main" id="{129B7675-AFF2-46C1-9142-87E1AF1F674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4457821" y="1647136"/>
              <a:ext cx="3288893" cy="3240167"/>
            </a:xfrm>
            <a:prstGeom prst="rect">
              <a:avLst/>
            </a:prstGeom>
          </p:spPr>
        </p:pic>
      </p:grpSp>
      <p:sp>
        <p:nvSpPr>
          <p:cNvPr id="5" name="addin_colorlist" hidden="1">
            <a:extLst>
              <a:ext uri="{FF2B5EF4-FFF2-40B4-BE49-F238E27FC236}">
                <a16:creationId xmlns:a16="http://schemas.microsoft.com/office/drawing/2014/main" id="{7722D185-9935-4700-AFBB-F65C2153A79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clr1, clr2</a:t>
            </a:r>
          </a:p>
        </p:txBody>
      </p:sp>
      <p:sp>
        <p:nvSpPr>
          <p:cNvPr id="6" name="addin_background" hidden="1">
            <a:extLst>
              <a:ext uri="{FF2B5EF4-FFF2-40B4-BE49-F238E27FC236}">
                <a16:creationId xmlns:a16="http://schemas.microsoft.com/office/drawing/2014/main" id="{E0A0150E-B260-464B-B95F-1F17BDC00860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7" name="addin_logo" hidden="1">
            <a:extLst>
              <a:ext uri="{FF2B5EF4-FFF2-40B4-BE49-F238E27FC236}">
                <a16:creationId xmlns:a16="http://schemas.microsoft.com/office/drawing/2014/main" id="{9360744D-0217-41DA-91F3-EF07D2B26B0E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8" name="addin_title" hidden="1">
            <a:extLst>
              <a:ext uri="{FF2B5EF4-FFF2-40B4-BE49-F238E27FC236}">
                <a16:creationId xmlns:a16="http://schemas.microsoft.com/office/drawing/2014/main" id="{2A7C8651-1170-4CD3-88AF-5918F9D84B9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0" name="addin_text" hidden="1">
            <a:extLst>
              <a:ext uri="{FF2B5EF4-FFF2-40B4-BE49-F238E27FC236}">
                <a16:creationId xmlns:a16="http://schemas.microsoft.com/office/drawing/2014/main" id="{9B399D9A-FE02-4816-87E4-E993823D46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pic>
        <p:nvPicPr>
          <p:cNvPr id="15" name="logo_hvit" descr="A picture containing drawing&#10;&#10;Description automatically generated" hidden="1">
            <a:extLst>
              <a:ext uri="{FF2B5EF4-FFF2-40B4-BE49-F238E27FC236}">
                <a16:creationId xmlns:a16="http://schemas.microsoft.com/office/drawing/2014/main" id="{94028686-7AAF-45E2-9091-82F1EE8A849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6980" y="6057288"/>
            <a:ext cx="2377913" cy="180000"/>
          </a:xfrm>
          <a:prstGeom prst="rect">
            <a:avLst/>
          </a:prstGeom>
        </p:spPr>
      </p:pic>
      <p:pic>
        <p:nvPicPr>
          <p:cNvPr id="16" name="logo_sort" descr="A close up of a logo&#10;&#10;Description automatically generated" hidden="1">
            <a:extLst>
              <a:ext uri="{FF2B5EF4-FFF2-40B4-BE49-F238E27FC236}">
                <a16:creationId xmlns:a16="http://schemas.microsoft.com/office/drawing/2014/main" id="{D99F5108-FF2D-41FF-92C5-AFA505658A9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6981" y="6057288"/>
            <a:ext cx="2375919" cy="180000"/>
          </a:xfrm>
          <a:prstGeom prst="rect">
            <a:avLst/>
          </a:prstGeom>
        </p:spPr>
      </p:pic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0CC64303-9B15-463A-ACE8-9E17C31DEB7B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916980" y="6057288"/>
            <a:ext cx="2376328" cy="1800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 b="0"/>
            </a:lvl1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6974464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utt slide #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EB2443B-8CAA-4149-9940-1ECA3F90D65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1999" cy="685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nb-NO"/>
              <a:t>Trykk på «Sett inn» fra menyen og velg «Bilde» for å sette inn bilde 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2EE5BDB-1793-4BA1-BFBC-83BD95F12E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44419" y="3152877"/>
            <a:ext cx="5703162" cy="432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 b="0"/>
            </a:lvl1pPr>
          </a:lstStyle>
          <a:p>
            <a:pPr lvl="0"/>
            <a:r>
              <a:rPr lang="nb-NO"/>
              <a:t> </a:t>
            </a:r>
          </a:p>
        </p:txBody>
      </p:sp>
      <p:pic>
        <p:nvPicPr>
          <p:cNvPr id="5" name="logo_hvit" descr="A picture containing drawing&#10;&#10;Description automatically generated" hidden="1">
            <a:extLst>
              <a:ext uri="{FF2B5EF4-FFF2-40B4-BE49-F238E27FC236}">
                <a16:creationId xmlns:a16="http://schemas.microsoft.com/office/drawing/2014/main" id="{737C8C5A-A3EF-42EA-843C-DF71CFE3BDD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4418" y="3152877"/>
            <a:ext cx="5706993" cy="432000"/>
          </a:xfrm>
          <a:prstGeom prst="rect">
            <a:avLst/>
          </a:prstGeom>
        </p:spPr>
      </p:pic>
      <p:pic>
        <p:nvPicPr>
          <p:cNvPr id="6" name="logo_sort" descr="A close up of a logo&#10;&#10;Description automatically generated" hidden="1">
            <a:extLst>
              <a:ext uri="{FF2B5EF4-FFF2-40B4-BE49-F238E27FC236}">
                <a16:creationId xmlns:a16="http://schemas.microsoft.com/office/drawing/2014/main" id="{830BCCC1-A8E5-4E01-B5B5-1AB552762AF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4418" y="3152877"/>
            <a:ext cx="5702212" cy="432000"/>
          </a:xfrm>
          <a:prstGeom prst="rect">
            <a:avLst/>
          </a:prstGeom>
        </p:spPr>
      </p:pic>
      <p:sp>
        <p:nvSpPr>
          <p:cNvPr id="8" name="addin_colorlist" hidden="1">
            <a:extLst>
              <a:ext uri="{FF2B5EF4-FFF2-40B4-BE49-F238E27FC236}">
                <a16:creationId xmlns:a16="http://schemas.microsoft.com/office/drawing/2014/main" id="{7D03B367-CCB4-4B96-A296-52D1D831726B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clr1, clr2</a:t>
            </a:r>
          </a:p>
        </p:txBody>
      </p:sp>
      <p:sp>
        <p:nvSpPr>
          <p:cNvPr id="9" name="addin_background" hidden="1">
            <a:extLst>
              <a:ext uri="{FF2B5EF4-FFF2-40B4-BE49-F238E27FC236}">
                <a16:creationId xmlns:a16="http://schemas.microsoft.com/office/drawing/2014/main" id="{0087BCAE-2FF7-4577-84E1-8AD467691937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10" name="addin_logo" hidden="1">
            <a:extLst>
              <a:ext uri="{FF2B5EF4-FFF2-40B4-BE49-F238E27FC236}">
                <a16:creationId xmlns:a16="http://schemas.microsoft.com/office/drawing/2014/main" id="{AABD5E44-1865-435D-A2D6-A0467819AE35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5452815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u/ bakgrunn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ssholder for bilde 10">
            <a:extLst>
              <a:ext uri="{FF2B5EF4-FFF2-40B4-BE49-F238E27FC236}">
                <a16:creationId xmlns:a16="http://schemas.microsoft.com/office/drawing/2014/main" id="{AA5DB507-BF6B-45A4-A922-BCF5378D80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b-NO"/>
              <a:t>Velg «Bilder» under «Sett inn»-fanen </a:t>
            </a:r>
            <a:br>
              <a:rPr lang="nb-NO"/>
            </a:br>
            <a:r>
              <a:rPr lang="nb-NO"/>
              <a:t>for å legge til bakgrunnsbilde</a:t>
            </a:r>
          </a:p>
        </p:txBody>
      </p:sp>
      <p:sp>
        <p:nvSpPr>
          <p:cNvPr id="9" name="Plassholder for dato 8">
            <a:extLst>
              <a:ext uri="{FF2B5EF4-FFF2-40B4-BE49-F238E27FC236}">
                <a16:creationId xmlns:a16="http://schemas.microsoft.com/office/drawing/2014/main" id="{E7CC6079-E42B-4E09-995A-2C3D078C842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58800" y="5662800"/>
            <a:ext cx="1872000" cy="276999"/>
          </a:xfrm>
        </p:spPr>
        <p:txBody>
          <a:bodyPr>
            <a:spAutoFit/>
          </a:bodyPr>
          <a:lstStyle>
            <a:lvl1pPr algn="ctr">
              <a:defRPr spc="40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nb-NO"/>
          </a:p>
        </p:txBody>
      </p:sp>
      <p:sp>
        <p:nvSpPr>
          <p:cNvPr id="13" name="Plassholder for tekst 11">
            <a:extLst>
              <a:ext uri="{FF2B5EF4-FFF2-40B4-BE49-F238E27FC236}">
                <a16:creationId xmlns:a16="http://schemas.microsoft.com/office/drawing/2014/main" id="{8CAC5ADE-6F71-4B03-9C15-2AC56BFC1A1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28133" y="2767282"/>
            <a:ext cx="10735734" cy="1323439"/>
          </a:xfrm>
          <a:prstGeom prst="rect">
            <a:avLst/>
          </a:prstGeom>
        </p:spPr>
        <p:txBody>
          <a:bodyPr lIns="91440" tIns="45720" rIns="91440" bIns="45720" anchor="ctr" anchorCtr="0"/>
          <a:lstStyle>
            <a:lvl1pPr marL="0" indent="0" algn="ctr">
              <a:spcBef>
                <a:spcPts val="0"/>
              </a:spcBef>
              <a:buNone/>
              <a:defRPr sz="4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E65C3ECB-5D13-44D8-BE32-5DD7DB456C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71864" y="2021235"/>
            <a:ext cx="2160000" cy="388799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173212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ed bilde (Bak)">
    <p:bg>
      <p:bgPr>
        <a:solidFill>
          <a:srgbClr val="09242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lassholder for bilde 27">
            <a:extLst>
              <a:ext uri="{FF2B5EF4-FFF2-40B4-BE49-F238E27FC236}">
                <a16:creationId xmlns:a16="http://schemas.microsoft.com/office/drawing/2014/main" id="{B781951E-9F31-4548-899F-2FE3B5A3133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777239 w 12192000"/>
              <a:gd name="connsiteY0" fmla="*/ 748893 h 6858000"/>
              <a:gd name="connsiteX1" fmla="*/ 777239 w 12192000"/>
              <a:gd name="connsiteY1" fmla="*/ 6076705 h 6858000"/>
              <a:gd name="connsiteX2" fmla="*/ 11410949 w 12192000"/>
              <a:gd name="connsiteY2" fmla="*/ 6076705 h 6858000"/>
              <a:gd name="connsiteX3" fmla="*/ 11410949 w 12192000"/>
              <a:gd name="connsiteY3" fmla="*/ 74889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777239" y="748893"/>
                </a:moveTo>
                <a:lnTo>
                  <a:pt x="777239" y="6076705"/>
                </a:lnTo>
                <a:lnTo>
                  <a:pt x="11410949" y="6076705"/>
                </a:lnTo>
                <a:lnTo>
                  <a:pt x="11410949" y="74889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0">
                <a:solidFill>
                  <a:schemeClr val="bg1"/>
                </a:solidFill>
              </a:defRPr>
            </a:lvl1pPr>
          </a:lstStyle>
          <a:p>
            <a:pPr marL="284400" marR="0" lvl="0" indent="-2844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/>
              <a:t>Trykk på «Sett inn» fra menyen og velg «Bilde» for å sette inn bilde </a:t>
            </a:r>
          </a:p>
        </p:txBody>
      </p:sp>
      <p:pic>
        <p:nvPicPr>
          <p:cNvPr id="5" name="Bilde 4" descr="Et bilde som inneholder overvåke, elektronikk, datamaskin, innendørs&#10;&#10;Automatisk generert beskrivelse">
            <a:extLst>
              <a:ext uri="{FF2B5EF4-FFF2-40B4-BE49-F238E27FC236}">
                <a16:creationId xmlns:a16="http://schemas.microsoft.com/office/drawing/2014/main" id="{5E5BC5F6-99DC-4039-8A91-77D71C800CE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283"/>
            <a:ext cx="12190992" cy="6857433"/>
          </a:xfrm>
          <a:prstGeom prst="rect">
            <a:avLst/>
          </a:prstGeom>
        </p:spPr>
      </p:pic>
      <p:grpSp>
        <p:nvGrpSpPr>
          <p:cNvPr id="6" name="logo_hvit">
            <a:extLst>
              <a:ext uri="{FF2B5EF4-FFF2-40B4-BE49-F238E27FC236}">
                <a16:creationId xmlns:a16="http://schemas.microsoft.com/office/drawing/2014/main" id="{1D461E68-0750-4388-9699-73CFC807944D}"/>
              </a:ext>
            </a:extLst>
          </p:cNvPr>
          <p:cNvGrpSpPr/>
          <p:nvPr userDrawn="1"/>
        </p:nvGrpSpPr>
        <p:grpSpPr>
          <a:xfrm>
            <a:off x="4447503" y="1193385"/>
            <a:ext cx="3293180" cy="2311815"/>
            <a:chOff x="4447503" y="1193385"/>
            <a:chExt cx="3293180" cy="2311815"/>
          </a:xfrm>
        </p:grpSpPr>
        <p:sp>
          <p:nvSpPr>
            <p:cNvPr id="20" name="Rektangel 19">
              <a:extLst>
                <a:ext uri="{FF2B5EF4-FFF2-40B4-BE49-F238E27FC236}">
                  <a16:creationId xmlns:a16="http://schemas.microsoft.com/office/drawing/2014/main" id="{A0DC2A83-E3E8-44D4-883B-3756EC7F775B}"/>
                </a:ext>
              </a:extLst>
            </p:cNvPr>
            <p:cNvSpPr/>
            <p:nvPr userDrawn="1"/>
          </p:nvSpPr>
          <p:spPr>
            <a:xfrm>
              <a:off x="4447503" y="1193385"/>
              <a:ext cx="3293180" cy="2311815"/>
            </a:xfrm>
            <a:prstGeom prst="rect">
              <a:avLst/>
            </a:prstGeom>
            <a:solidFill>
              <a:srgbClr val="0925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21" name="Bilde 20">
              <a:extLst>
                <a:ext uri="{FF2B5EF4-FFF2-40B4-BE49-F238E27FC236}">
                  <a16:creationId xmlns:a16="http://schemas.microsoft.com/office/drawing/2014/main" id="{D38D80C9-0A52-4C0B-BED6-9A5D174B7B6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4997550" y="1255063"/>
              <a:ext cx="2209256" cy="2176526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D90EC18-B2B0-476F-9B79-1FAB5B83243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303144" y="3711882"/>
            <a:ext cx="7581901" cy="1200329"/>
          </a:xfrm>
        </p:spPr>
        <p:txBody>
          <a:bodyPr anchor="b">
            <a:noAutofit/>
          </a:bodyPr>
          <a:lstStyle>
            <a:lvl1pPr algn="ctr">
              <a:defRPr sz="3600" b="0">
                <a:solidFill>
                  <a:schemeClr val="accent2"/>
                </a:solidFill>
              </a:defRPr>
            </a:lvl1pPr>
          </a:lstStyle>
          <a:p>
            <a:r>
              <a:rPr lang="en-US" err="1"/>
              <a:t>Overskrift</a:t>
            </a:r>
            <a:r>
              <a:rPr lang="en-US"/>
              <a:t> over </a:t>
            </a:r>
            <a:r>
              <a:rPr lang="en-US" err="1"/>
              <a:t>én</a:t>
            </a:r>
            <a:r>
              <a:rPr lang="en-US"/>
              <a:t> </a:t>
            </a:r>
            <a:r>
              <a:rPr lang="en-US" err="1"/>
              <a:t>linje</a:t>
            </a:r>
            <a:r>
              <a:rPr lang="en-US"/>
              <a:t> eller </a:t>
            </a:r>
            <a:r>
              <a:rPr lang="en-US" err="1"/>
              <a:t>maks</a:t>
            </a:r>
            <a:r>
              <a:rPr lang="en-US"/>
              <a:t> to </a:t>
            </a:r>
            <a:r>
              <a:rPr lang="en-US" err="1"/>
              <a:t>linjer</a:t>
            </a:r>
            <a:endParaRPr lang="nb-NO"/>
          </a:p>
        </p:txBody>
      </p:sp>
      <p:sp>
        <p:nvSpPr>
          <p:cNvPr id="3" name="VM_Subtitle">
            <a:extLst>
              <a:ext uri="{FF2B5EF4-FFF2-40B4-BE49-F238E27FC236}">
                <a16:creationId xmlns:a16="http://schemas.microsoft.com/office/drawing/2014/main" id="{BE245B31-256B-4724-9A48-52FAF0FEBD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303143" y="4944615"/>
            <a:ext cx="7581901" cy="720000"/>
          </a:xfrm>
        </p:spPr>
        <p:txBody>
          <a:bodyPr tIns="0" bIns="0">
            <a:noAutofit/>
          </a:bodyPr>
          <a:lstStyle>
            <a:lvl1pPr marL="0" indent="0" algn="ctr">
              <a:buNone/>
              <a:defRPr sz="2000" b="0">
                <a:solidFill>
                  <a:schemeClr val="accent2"/>
                </a:solidFill>
                <a:latin typeface="Vinmonopolet Ingress Medium" panose="000006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err="1"/>
              <a:t>Undertittel</a:t>
            </a:r>
            <a:r>
              <a:rPr lang="en-US"/>
              <a:t> over </a:t>
            </a:r>
            <a:r>
              <a:rPr lang="en-US" err="1"/>
              <a:t>én</a:t>
            </a:r>
            <a:r>
              <a:rPr lang="en-US"/>
              <a:t> </a:t>
            </a:r>
            <a:r>
              <a:rPr lang="en-US" err="1"/>
              <a:t>linje</a:t>
            </a:r>
            <a:endParaRPr lang="nb-NO"/>
          </a:p>
        </p:txBody>
      </p:sp>
      <p:sp>
        <p:nvSpPr>
          <p:cNvPr id="7" name="addin_colorlist" hidden="1">
            <a:extLst>
              <a:ext uri="{FF2B5EF4-FFF2-40B4-BE49-F238E27FC236}">
                <a16:creationId xmlns:a16="http://schemas.microsoft.com/office/drawing/2014/main" id="{B1E5834D-FFDE-42CA-AFAA-7B6D5B309C81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clr1, clr2</a:t>
            </a:r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90068FE4-8ADB-49CC-B5E3-1AF3C51433C8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6" name="addin_title" hidden="1">
            <a:extLst>
              <a:ext uri="{FF2B5EF4-FFF2-40B4-BE49-F238E27FC236}">
                <a16:creationId xmlns:a16="http://schemas.microsoft.com/office/drawing/2014/main" id="{DF269432-BF11-47FC-8FBF-38FAF0266933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7" name="addin_text" hidden="1">
            <a:extLst>
              <a:ext uri="{FF2B5EF4-FFF2-40B4-BE49-F238E27FC236}">
                <a16:creationId xmlns:a16="http://schemas.microsoft.com/office/drawing/2014/main" id="{E2D2F195-98CC-49EA-BBD5-8B1DB583AFD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grpSp>
        <p:nvGrpSpPr>
          <p:cNvPr id="8" name="logo_sort" hidden="1">
            <a:extLst>
              <a:ext uri="{FF2B5EF4-FFF2-40B4-BE49-F238E27FC236}">
                <a16:creationId xmlns:a16="http://schemas.microsoft.com/office/drawing/2014/main" id="{EBF7E129-69A0-4677-BAA5-B9F625C7A5C1}"/>
              </a:ext>
            </a:extLst>
          </p:cNvPr>
          <p:cNvGrpSpPr/>
          <p:nvPr userDrawn="1"/>
        </p:nvGrpSpPr>
        <p:grpSpPr>
          <a:xfrm>
            <a:off x="4186712" y="860028"/>
            <a:ext cx="3814762" cy="2819450"/>
            <a:chOff x="4186712" y="860028"/>
            <a:chExt cx="3814762" cy="2819450"/>
          </a:xfrm>
        </p:grpSpPr>
        <p:sp>
          <p:nvSpPr>
            <p:cNvPr id="17" name="Rektangel 16">
              <a:extLst>
                <a:ext uri="{FF2B5EF4-FFF2-40B4-BE49-F238E27FC236}">
                  <a16:creationId xmlns:a16="http://schemas.microsoft.com/office/drawing/2014/main" id="{2A2AC0CF-8136-45FF-A853-E98AAAD83DBF}"/>
                </a:ext>
              </a:extLst>
            </p:cNvPr>
            <p:cNvSpPr/>
            <p:nvPr userDrawn="1"/>
          </p:nvSpPr>
          <p:spPr>
            <a:xfrm>
              <a:off x="4186712" y="860028"/>
              <a:ext cx="3814762" cy="2819450"/>
            </a:xfrm>
            <a:prstGeom prst="rect">
              <a:avLst/>
            </a:prstGeom>
            <a:solidFill>
              <a:srgbClr val="D0EA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8" name="Bilde 17">
              <a:extLst>
                <a:ext uri="{FF2B5EF4-FFF2-40B4-BE49-F238E27FC236}">
                  <a16:creationId xmlns:a16="http://schemas.microsoft.com/office/drawing/2014/main" id="{79ADF078-5906-46E3-ADE9-BEA4D4A4ABA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4997550" y="1255063"/>
              <a:ext cx="2209256" cy="2176526"/>
            </a:xfrm>
            <a:prstGeom prst="rect">
              <a:avLst/>
            </a:prstGeom>
          </p:spPr>
        </p:pic>
      </p:grp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D690DC94-2E62-42D4-BCC5-4C2AF3163B5C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6065447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tellysbilde m/ bakgrunn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lassholder for bilde 10">
            <a:extLst>
              <a:ext uri="{FF2B5EF4-FFF2-40B4-BE49-F238E27FC236}">
                <a16:creationId xmlns:a16="http://schemas.microsoft.com/office/drawing/2014/main" id="{AD1D0979-EDEF-BF44-AAC3-FD46CCE19D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ktangel 6">
            <a:extLst>
              <a:ext uri="{FF2B5EF4-FFF2-40B4-BE49-F238E27FC236}">
                <a16:creationId xmlns:a16="http://schemas.microsoft.com/office/drawing/2014/main" id="{EAE2A0A3-E0EB-AE4C-858C-4D8F9319B7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3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eorgia"/>
              <a:ea typeface="+mn-ea"/>
              <a:cs typeface="+mn-cs"/>
            </a:endParaRPr>
          </a:p>
        </p:txBody>
      </p:sp>
      <p:sp>
        <p:nvSpPr>
          <p:cNvPr id="9" name="Plassholder for dato 8">
            <a:extLst>
              <a:ext uri="{FF2B5EF4-FFF2-40B4-BE49-F238E27FC236}">
                <a16:creationId xmlns:a16="http://schemas.microsoft.com/office/drawing/2014/main" id="{E7CC6079-E42B-4E09-995A-2C3D078C842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58800" y="5662800"/>
            <a:ext cx="1872000" cy="276999"/>
          </a:xfrm>
        </p:spPr>
        <p:txBody>
          <a:bodyPr>
            <a:spAutoFit/>
          </a:bodyPr>
          <a:lstStyle>
            <a:lvl1pPr algn="ctr">
              <a:defRPr spc="40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nb-NO"/>
          </a:p>
        </p:txBody>
      </p:sp>
      <p:sp>
        <p:nvSpPr>
          <p:cNvPr id="13" name="Plassholder for tekst 11">
            <a:extLst>
              <a:ext uri="{FF2B5EF4-FFF2-40B4-BE49-F238E27FC236}">
                <a16:creationId xmlns:a16="http://schemas.microsoft.com/office/drawing/2014/main" id="{8CAC5ADE-6F71-4B03-9C15-2AC56BFC1A1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28133" y="2767282"/>
            <a:ext cx="10735734" cy="1323439"/>
          </a:xfrm>
          <a:prstGeom prst="rect">
            <a:avLst/>
          </a:prstGeom>
        </p:spPr>
        <p:txBody>
          <a:bodyPr lIns="91440" tIns="45720" rIns="91440" bIns="45720" anchor="ctr" anchorCtr="0"/>
          <a:lstStyle>
            <a:lvl1pPr marL="0" indent="0" algn="ctr">
              <a:spcBef>
                <a:spcPts val="0"/>
              </a:spcBef>
              <a:buNone/>
              <a:defRPr sz="4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E65C3ECB-5D13-44D8-BE32-5DD7DB456C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71864" y="2021235"/>
            <a:ext cx="2160000" cy="388799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4071921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tellysbilde m/ bakgrunn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>
            <a:extLst>
              <a:ext uri="{FF2B5EF4-FFF2-40B4-BE49-F238E27FC236}">
                <a16:creationId xmlns:a16="http://schemas.microsoft.com/office/drawing/2014/main" id="{00DA54D0-0E1B-4447-876C-0ECA3CCDDC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818" r="2520" b="10888"/>
          <a:stretch/>
        </p:blipFill>
        <p:spPr>
          <a:xfrm>
            <a:off x="-736600" y="1"/>
            <a:ext cx="12928599" cy="6858000"/>
          </a:xfrm>
          <a:prstGeom prst="rect">
            <a:avLst/>
          </a:prstGeom>
        </p:spPr>
      </p:pic>
      <p:sp>
        <p:nvSpPr>
          <p:cNvPr id="7" name="Rektangel 6">
            <a:extLst>
              <a:ext uri="{FF2B5EF4-FFF2-40B4-BE49-F238E27FC236}">
                <a16:creationId xmlns:a16="http://schemas.microsoft.com/office/drawing/2014/main" id="{EAE2A0A3-E0EB-AE4C-858C-4D8F9319B7C9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tx1">
              <a:alpha val="3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eorgia"/>
              <a:ea typeface="+mn-ea"/>
              <a:cs typeface="+mn-cs"/>
            </a:endParaRPr>
          </a:p>
        </p:txBody>
      </p:sp>
      <p:sp>
        <p:nvSpPr>
          <p:cNvPr id="9" name="Plassholder for dato 8">
            <a:extLst>
              <a:ext uri="{FF2B5EF4-FFF2-40B4-BE49-F238E27FC236}">
                <a16:creationId xmlns:a16="http://schemas.microsoft.com/office/drawing/2014/main" id="{E7CC6079-E42B-4E09-995A-2C3D078C842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58800" y="5662800"/>
            <a:ext cx="1872000" cy="276999"/>
          </a:xfrm>
        </p:spPr>
        <p:txBody>
          <a:bodyPr>
            <a:spAutoFit/>
          </a:bodyPr>
          <a:lstStyle>
            <a:lvl1pPr algn="ctr">
              <a:defRPr spc="40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nb-NO"/>
          </a:p>
        </p:txBody>
      </p:sp>
      <p:sp>
        <p:nvSpPr>
          <p:cNvPr id="13" name="Plassholder for tekst 11">
            <a:extLst>
              <a:ext uri="{FF2B5EF4-FFF2-40B4-BE49-F238E27FC236}">
                <a16:creationId xmlns:a16="http://schemas.microsoft.com/office/drawing/2014/main" id="{8CAC5ADE-6F71-4B03-9C15-2AC56BFC1A1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28133" y="2767282"/>
            <a:ext cx="10735734" cy="1323439"/>
          </a:xfrm>
          <a:prstGeom prst="rect">
            <a:avLst/>
          </a:prstGeom>
        </p:spPr>
        <p:txBody>
          <a:bodyPr lIns="91440" tIns="45720" rIns="91440" bIns="45720" anchor="ctr" anchorCtr="0"/>
          <a:lstStyle>
            <a:lvl1pPr marL="0" indent="0" algn="ctr">
              <a:spcBef>
                <a:spcPts val="0"/>
              </a:spcBef>
              <a:buNone/>
              <a:defRPr sz="4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E65C3ECB-5D13-44D8-BE32-5DD7DB456C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71864" y="2021235"/>
            <a:ext cx="2160000" cy="388799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7082985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r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61446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Kapittelski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3">
            <a:extLst>
              <a:ext uri="{FF2B5EF4-FFF2-40B4-BE49-F238E27FC236}">
                <a16:creationId xmlns:a16="http://schemas.microsoft.com/office/drawing/2014/main" id="{EC5612B7-DA26-4C03-9941-67F53FDDB4B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09"/>
            <a:ext cx="12192000" cy="6857381"/>
          </a:xfrm>
          <a:prstGeom prst="rect">
            <a:avLst/>
          </a:prstGeom>
        </p:spPr>
      </p:pic>
      <p:sp>
        <p:nvSpPr>
          <p:cNvPr id="12" name="Plassholder for tekst 2">
            <a:extLst>
              <a:ext uri="{FF2B5EF4-FFF2-40B4-BE49-F238E27FC236}">
                <a16:creationId xmlns:a16="http://schemas.microsoft.com/office/drawing/2014/main" id="{A5C5AE3F-9A5C-5549-820D-8AA89D71BDB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373871" y="2170800"/>
            <a:ext cx="7444800" cy="276999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 algn="ctr">
              <a:buNone/>
              <a:defRPr sz="1600" cap="all" spc="400" baseline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3" name="Plassholder for tekst 11">
            <a:extLst>
              <a:ext uri="{FF2B5EF4-FFF2-40B4-BE49-F238E27FC236}">
                <a16:creationId xmlns:a16="http://schemas.microsoft.com/office/drawing/2014/main" id="{EFA070A2-7CEA-5842-9DDE-B8440E6A0E1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707200" y="2890800"/>
            <a:ext cx="6777567" cy="1077218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32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406011541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re logo, lys brun bakgrunn">
    <p:bg>
      <p:bgPr>
        <a:solidFill>
          <a:srgbClr val="EFEF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281120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ssholder for bilde 15">
            <a:extLst>
              <a:ext uri="{FF2B5EF4-FFF2-40B4-BE49-F238E27FC236}">
                <a16:creationId xmlns:a16="http://schemas.microsoft.com/office/drawing/2014/main" id="{0BD14FA2-E23A-4B97-9DF0-213DFEBCFB9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187451" y="1160744"/>
            <a:ext cx="10633710" cy="5327812"/>
          </a:xfrm>
          <a:custGeom>
            <a:avLst/>
            <a:gdLst>
              <a:gd name="connsiteX0" fmla="*/ 9817099 w 10633710"/>
              <a:gd name="connsiteY0" fmla="*/ 0 h 5327812"/>
              <a:gd name="connsiteX1" fmla="*/ 10633710 w 10633710"/>
              <a:gd name="connsiteY1" fmla="*/ 0 h 5327812"/>
              <a:gd name="connsiteX2" fmla="*/ 10633710 w 10633710"/>
              <a:gd name="connsiteY2" fmla="*/ 5327812 h 5327812"/>
              <a:gd name="connsiteX3" fmla="*/ 0 w 10633710"/>
              <a:gd name="connsiteY3" fmla="*/ 5327812 h 5327812"/>
              <a:gd name="connsiteX4" fmla="*/ 0 w 10633710"/>
              <a:gd name="connsiteY4" fmla="*/ 4536512 h 5327812"/>
              <a:gd name="connsiteX5" fmla="*/ 9817099 w 10633710"/>
              <a:gd name="connsiteY5" fmla="*/ 4536512 h 5327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633710" h="5327812">
                <a:moveTo>
                  <a:pt x="9817099" y="0"/>
                </a:moveTo>
                <a:lnTo>
                  <a:pt x="10633710" y="0"/>
                </a:lnTo>
                <a:lnTo>
                  <a:pt x="10633710" y="5327812"/>
                </a:lnTo>
                <a:lnTo>
                  <a:pt x="0" y="5327812"/>
                </a:lnTo>
                <a:lnTo>
                  <a:pt x="0" y="4536512"/>
                </a:lnTo>
                <a:lnTo>
                  <a:pt x="9817099" y="4536512"/>
                </a:lnTo>
                <a:close/>
              </a:path>
            </a:pathLst>
          </a:custGeom>
          <a:blipFill dpi="0" rotWithShape="1">
            <a:blip r:embed="rId2"/>
            <a:srcRect/>
            <a:stretch>
              <a:fillRect t="-272" b="-272"/>
            </a:stretch>
          </a:blipFill>
        </p:spPr>
        <p:txBody>
          <a:bodyPr wrap="square">
            <a:noAutofit/>
          </a:bodyPr>
          <a:lstStyle>
            <a:lvl1pPr>
              <a:buNone/>
              <a:defRPr sz="100">
                <a:solidFill>
                  <a:srgbClr val="010000"/>
                </a:solidFill>
              </a:defRPr>
            </a:lvl1pPr>
          </a:lstStyle>
          <a:p>
            <a:r>
              <a:rPr lang="en-US"/>
              <a:t> </a:t>
            </a:r>
            <a:endParaRPr lang="nb-NO"/>
          </a:p>
        </p:txBody>
      </p:sp>
      <p:sp>
        <p:nvSpPr>
          <p:cNvPr id="7" name="colorbox">
            <a:extLst>
              <a:ext uri="{FF2B5EF4-FFF2-40B4-BE49-F238E27FC236}">
                <a16:creationId xmlns:a16="http://schemas.microsoft.com/office/drawing/2014/main" id="{2A66542B-E0C9-4D13-9742-F87D41EF7FC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0839" y="370846"/>
            <a:ext cx="10633710" cy="5327812"/>
          </a:xfrm>
          <a:solidFill>
            <a:srgbClr val="CFE9DE"/>
          </a:solidFill>
        </p:spPr>
        <p:txBody>
          <a:bodyPr/>
          <a:lstStyle>
            <a:lvl1pPr marL="0" indent="0">
              <a:buNone/>
              <a:defRPr sz="100" b="0">
                <a:solidFill>
                  <a:srgbClr val="010000"/>
                </a:solidFill>
              </a:defRPr>
            </a:lvl1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90EC18-B2B0-476F-9B79-1FAB5B83243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65627" y="1781934"/>
            <a:ext cx="7581901" cy="1200329"/>
          </a:xfrm>
        </p:spPr>
        <p:txBody>
          <a:bodyPr anchor="b">
            <a:noAutofit/>
          </a:bodyPr>
          <a:lstStyle>
            <a:lvl1pPr algn="l"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err="1"/>
              <a:t>Kapitteltittel</a:t>
            </a:r>
            <a:r>
              <a:rPr lang="en-US"/>
              <a:t> </a:t>
            </a:r>
            <a:r>
              <a:rPr lang="en-US" err="1"/>
              <a:t>kan</a:t>
            </a:r>
            <a:r>
              <a:rPr lang="en-US"/>
              <a:t> </a:t>
            </a:r>
            <a:r>
              <a:rPr lang="en-US" err="1"/>
              <a:t>være</a:t>
            </a:r>
            <a:r>
              <a:rPr lang="en-US"/>
              <a:t> over to </a:t>
            </a:r>
            <a:r>
              <a:rPr lang="en-US" err="1"/>
              <a:t>linjer</a:t>
            </a:r>
            <a:endParaRPr lang="nb-NO"/>
          </a:p>
        </p:txBody>
      </p:sp>
      <p:sp>
        <p:nvSpPr>
          <p:cNvPr id="3" name="VM_Subtitle">
            <a:extLst>
              <a:ext uri="{FF2B5EF4-FFF2-40B4-BE49-F238E27FC236}">
                <a16:creationId xmlns:a16="http://schemas.microsoft.com/office/drawing/2014/main" id="{BE245B31-256B-4724-9A48-52FAF0FEBD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465626" y="3138494"/>
            <a:ext cx="7581901" cy="1200329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 b="0">
                <a:solidFill>
                  <a:schemeClr val="tx1"/>
                </a:solidFill>
                <a:latin typeface="Vinmonopolet Ingress Medium" panose="000006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err="1"/>
              <a:t>Undertittel</a:t>
            </a:r>
            <a:r>
              <a:rPr lang="en-US"/>
              <a:t> over </a:t>
            </a:r>
            <a:r>
              <a:rPr lang="en-US" err="1"/>
              <a:t>en</a:t>
            </a:r>
            <a:r>
              <a:rPr lang="en-US"/>
              <a:t> </a:t>
            </a:r>
            <a:r>
              <a:rPr lang="en-US" err="1"/>
              <a:t>eller</a:t>
            </a:r>
            <a:r>
              <a:rPr lang="en-US"/>
              <a:t> to </a:t>
            </a:r>
            <a:r>
              <a:rPr lang="en-US" err="1"/>
              <a:t>linjer</a:t>
            </a:r>
            <a:endParaRPr lang="nb-NO"/>
          </a:p>
        </p:txBody>
      </p:sp>
      <p:sp>
        <p:nvSpPr>
          <p:cNvPr id="8" name="addin_colorlist" hidden="1">
            <a:extLst>
              <a:ext uri="{FF2B5EF4-FFF2-40B4-BE49-F238E27FC236}">
                <a16:creationId xmlns:a16="http://schemas.microsoft.com/office/drawing/2014/main" id="{D3439646-FC3F-44C0-BF59-2794D5856F9A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kap6, kapfor3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D8B3E5A2-4BBC-46B9-BC18-167043D78E1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FF35936B-7EB0-47C0-B9D5-C1A843B1674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3" name="addin_text" hidden="1">
            <a:extLst>
              <a:ext uri="{FF2B5EF4-FFF2-40B4-BE49-F238E27FC236}">
                <a16:creationId xmlns:a16="http://schemas.microsoft.com/office/drawing/2014/main" id="{45E4EDA5-4D3C-4548-AC47-095964F66B27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073D8A4B-F7B0-4CD4-8FF4-833FE25554C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1" name="addin_grouplist" hidden="1">
            <a:extLst>
              <a:ext uri="{FF2B5EF4-FFF2-40B4-BE49-F238E27FC236}">
                <a16:creationId xmlns:a16="http://schemas.microsoft.com/office/drawing/2014/main" id="{D3ED3F37-CFAE-4295-B946-D7BB490C021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2DC5EEF6-4D9B-4647-A348-6EE427F7790D}"/>
              </a:ext>
            </a:extLst>
          </p:cNvPr>
          <p:cNvSpPr/>
          <p:nvPr userDrawn="1"/>
        </p:nvSpPr>
        <p:spPr>
          <a:xfrm>
            <a:off x="1751349" y="-739246"/>
            <a:ext cx="558000" cy="558000"/>
          </a:xfrm>
          <a:prstGeom prst="rect">
            <a:avLst/>
          </a:prstGeom>
          <a:solidFill>
            <a:srgbClr val="6E13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8C2CF4BC-62A6-40E3-B61D-43A117B1D4E3}"/>
              </a:ext>
            </a:extLst>
          </p:cNvPr>
          <p:cNvSpPr/>
          <p:nvPr userDrawn="1"/>
        </p:nvSpPr>
        <p:spPr>
          <a:xfrm>
            <a:off x="1605847" y="-885366"/>
            <a:ext cx="558000" cy="558000"/>
          </a:xfrm>
          <a:prstGeom prst="rect">
            <a:avLst/>
          </a:prstGeom>
          <a:solidFill>
            <a:srgbClr val="F0C3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3600">
                <a:solidFill>
                  <a:srgbClr val="66050A"/>
                </a:solidFill>
                <a:latin typeface="+mj-lt"/>
              </a:rPr>
              <a:t>T</a:t>
            </a:r>
          </a:p>
        </p:txBody>
      </p:sp>
    </p:spTree>
    <p:extLst>
      <p:ext uri="{BB962C8B-B14F-4D97-AF65-F5344CB8AC3E}">
        <p14:creationId xmlns:p14="http://schemas.microsoft.com/office/powerpoint/2010/main" val="36234822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lassholder for bilde 17">
            <a:extLst>
              <a:ext uri="{FF2B5EF4-FFF2-40B4-BE49-F238E27FC236}">
                <a16:creationId xmlns:a16="http://schemas.microsoft.com/office/drawing/2014/main" id="{ECFEBB9D-94A9-4B74-90C8-2A2F74BA710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11"/>
            <p:custDataLst>
              <p:tags r:id="rId1"/>
            </p:custDataLst>
          </p:nvPr>
        </p:nvSpPr>
        <p:spPr>
          <a:xfrm>
            <a:off x="370840" y="369444"/>
            <a:ext cx="10633710" cy="5327812"/>
          </a:xfrm>
          <a:custGeom>
            <a:avLst/>
            <a:gdLst>
              <a:gd name="connsiteX0" fmla="*/ 0 w 10633710"/>
              <a:gd name="connsiteY0" fmla="*/ 0 h 5327812"/>
              <a:gd name="connsiteX1" fmla="*/ 10633710 w 10633710"/>
              <a:gd name="connsiteY1" fmla="*/ 0 h 5327812"/>
              <a:gd name="connsiteX2" fmla="*/ 10633710 w 10633710"/>
              <a:gd name="connsiteY2" fmla="*/ 791300 h 5327812"/>
              <a:gd name="connsiteX3" fmla="*/ 816610 w 10633710"/>
              <a:gd name="connsiteY3" fmla="*/ 791300 h 5327812"/>
              <a:gd name="connsiteX4" fmla="*/ 816610 w 10633710"/>
              <a:gd name="connsiteY4" fmla="*/ 5327812 h 5327812"/>
              <a:gd name="connsiteX5" fmla="*/ 0 w 10633710"/>
              <a:gd name="connsiteY5" fmla="*/ 5327812 h 5327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633710" h="5327812">
                <a:moveTo>
                  <a:pt x="0" y="0"/>
                </a:moveTo>
                <a:lnTo>
                  <a:pt x="10633710" y="0"/>
                </a:lnTo>
                <a:lnTo>
                  <a:pt x="10633710" y="791300"/>
                </a:lnTo>
                <a:lnTo>
                  <a:pt x="816610" y="791300"/>
                </a:lnTo>
                <a:lnTo>
                  <a:pt x="816610" y="5327812"/>
                </a:lnTo>
                <a:lnTo>
                  <a:pt x="0" y="5327812"/>
                </a:lnTo>
                <a:close/>
              </a:path>
            </a:pathLst>
          </a:custGeom>
          <a:blipFill>
            <a:blip r:embed="rId3"/>
            <a:stretch>
              <a:fillRect t="-509" b="-509"/>
            </a:stretch>
          </a:blipFill>
          <a:effectLst>
            <a:outerShdw blurRad="50800" dist="38100" dir="2700000" algn="tl" rotWithShape="0">
              <a:prstClr val="black">
                <a:alpha val="0"/>
              </a:prstClr>
            </a:outerShdw>
          </a:effectLst>
        </p:spPr>
        <p:txBody>
          <a:bodyPr wrap="square">
            <a:noAutofit/>
          </a:bodyPr>
          <a:lstStyle>
            <a:lvl1pPr>
              <a:defRPr sz="3200">
                <a:effectLst/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15" name="colorbox">
            <a:extLst>
              <a:ext uri="{FF2B5EF4-FFF2-40B4-BE49-F238E27FC236}">
                <a16:creationId xmlns:a16="http://schemas.microsoft.com/office/drawing/2014/main" id="{961D4E0D-11F1-4D8E-8E84-644679942A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87450" y="1155744"/>
            <a:ext cx="10633710" cy="5327812"/>
          </a:xfrm>
          <a:solidFill>
            <a:srgbClr val="CFE9DE"/>
          </a:solidFill>
        </p:spPr>
        <p:txBody>
          <a:bodyPr/>
          <a:lstStyle>
            <a:lvl1pPr marL="0" indent="0">
              <a:buNone/>
              <a:defRPr sz="100" b="0">
                <a:solidFill>
                  <a:srgbClr val="010000"/>
                </a:solidFill>
              </a:defRPr>
            </a:lvl1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90EC18-B2B0-476F-9B79-1FAB5B83243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266949" y="2553459"/>
            <a:ext cx="7581901" cy="1200329"/>
          </a:xfrm>
        </p:spPr>
        <p:txBody>
          <a:bodyPr anchor="b">
            <a:noAutofit/>
          </a:bodyPr>
          <a:lstStyle>
            <a:lvl1pPr algn="l"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err="1"/>
              <a:t>Kapitteltittel</a:t>
            </a:r>
            <a:r>
              <a:rPr lang="en-US"/>
              <a:t> </a:t>
            </a:r>
            <a:r>
              <a:rPr lang="en-US" err="1"/>
              <a:t>kan</a:t>
            </a:r>
            <a:r>
              <a:rPr lang="en-US"/>
              <a:t> </a:t>
            </a:r>
            <a:r>
              <a:rPr lang="en-US" err="1"/>
              <a:t>være</a:t>
            </a:r>
            <a:r>
              <a:rPr lang="en-US"/>
              <a:t> over to </a:t>
            </a:r>
            <a:r>
              <a:rPr lang="en-US" err="1"/>
              <a:t>linjer</a:t>
            </a:r>
            <a:endParaRPr lang="nb-NO"/>
          </a:p>
        </p:txBody>
      </p:sp>
      <p:sp>
        <p:nvSpPr>
          <p:cNvPr id="3" name="VM_Subtitle">
            <a:extLst>
              <a:ext uri="{FF2B5EF4-FFF2-40B4-BE49-F238E27FC236}">
                <a16:creationId xmlns:a16="http://schemas.microsoft.com/office/drawing/2014/main" id="{BE245B31-256B-4724-9A48-52FAF0FEBD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266948" y="3910019"/>
            <a:ext cx="7581901" cy="1200329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 b="0">
                <a:solidFill>
                  <a:schemeClr val="tx1"/>
                </a:solidFill>
                <a:latin typeface="Vinmonopolet Ingress Medium" panose="000006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err="1"/>
              <a:t>Undertittel</a:t>
            </a:r>
            <a:r>
              <a:rPr lang="en-US"/>
              <a:t> over </a:t>
            </a:r>
            <a:r>
              <a:rPr lang="en-US" err="1"/>
              <a:t>en</a:t>
            </a:r>
            <a:r>
              <a:rPr lang="en-US"/>
              <a:t> </a:t>
            </a:r>
            <a:r>
              <a:rPr lang="en-US" err="1"/>
              <a:t>eller</a:t>
            </a:r>
            <a:r>
              <a:rPr lang="en-US"/>
              <a:t> to </a:t>
            </a:r>
            <a:r>
              <a:rPr lang="en-US" err="1"/>
              <a:t>linjer</a:t>
            </a:r>
            <a:endParaRPr lang="nb-NO"/>
          </a:p>
        </p:txBody>
      </p:sp>
      <p:sp>
        <p:nvSpPr>
          <p:cNvPr id="8" name="addin_colorbox" hidden="1">
            <a:extLst>
              <a:ext uri="{FF2B5EF4-FFF2-40B4-BE49-F238E27FC236}">
                <a16:creationId xmlns:a16="http://schemas.microsoft.com/office/drawing/2014/main" id="{66EB31BB-D642-4B92-9DE3-F49EB209B2C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43E3033-FBB7-4620-9CF3-0842B6DDDAE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52AA026A-7FBB-4D3D-9F4F-7D9BC9D777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3" name="addin_image" hidden="1">
            <a:extLst>
              <a:ext uri="{FF2B5EF4-FFF2-40B4-BE49-F238E27FC236}">
                <a16:creationId xmlns:a16="http://schemas.microsoft.com/office/drawing/2014/main" id="{96EE763E-D0DF-4231-BC1D-14DE4B1DD411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4" name="addin_colorlist" hidden="1">
            <a:extLst>
              <a:ext uri="{FF2B5EF4-FFF2-40B4-BE49-F238E27FC236}">
                <a16:creationId xmlns:a16="http://schemas.microsoft.com/office/drawing/2014/main" id="{60D7069D-E3FA-4660-9955-4E70E9D34972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kap6, kapfor3</a:t>
            </a:r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4112378-605A-4D47-B161-F66CAFAC63B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30004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 med N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bilde 12">
            <a:extLst>
              <a:ext uri="{FF2B5EF4-FFF2-40B4-BE49-F238E27FC236}">
                <a16:creationId xmlns:a16="http://schemas.microsoft.com/office/drawing/2014/main" id="{D5DF7CD0-05F6-43F1-AACD-64405CD0DDA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187450" y="1160744"/>
            <a:ext cx="10633710" cy="5327812"/>
          </a:xfrm>
          <a:custGeom>
            <a:avLst/>
            <a:gdLst>
              <a:gd name="connsiteX0" fmla="*/ 9817099 w 10633710"/>
              <a:gd name="connsiteY0" fmla="*/ 0 h 5327812"/>
              <a:gd name="connsiteX1" fmla="*/ 10633710 w 10633710"/>
              <a:gd name="connsiteY1" fmla="*/ 0 h 5327812"/>
              <a:gd name="connsiteX2" fmla="*/ 10633710 w 10633710"/>
              <a:gd name="connsiteY2" fmla="*/ 5327812 h 5327812"/>
              <a:gd name="connsiteX3" fmla="*/ 0 w 10633710"/>
              <a:gd name="connsiteY3" fmla="*/ 5327812 h 5327812"/>
              <a:gd name="connsiteX4" fmla="*/ 0 w 10633710"/>
              <a:gd name="connsiteY4" fmla="*/ 4536512 h 5327812"/>
              <a:gd name="connsiteX5" fmla="*/ 9817099 w 10633710"/>
              <a:gd name="connsiteY5" fmla="*/ 4536512 h 5327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633710" h="5327812">
                <a:moveTo>
                  <a:pt x="9817099" y="0"/>
                </a:moveTo>
                <a:lnTo>
                  <a:pt x="10633710" y="0"/>
                </a:lnTo>
                <a:lnTo>
                  <a:pt x="10633710" y="5327812"/>
                </a:lnTo>
                <a:lnTo>
                  <a:pt x="0" y="5327812"/>
                </a:lnTo>
                <a:lnTo>
                  <a:pt x="0" y="4536512"/>
                </a:lnTo>
                <a:lnTo>
                  <a:pt x="9817099" y="4536512"/>
                </a:lnTo>
                <a:close/>
              </a:path>
            </a:pathLst>
          </a:custGeom>
          <a:blipFill>
            <a:blip r:embed="rId2"/>
            <a:stretch>
              <a:fillRect t="-509" b="-509"/>
            </a:stretch>
          </a:blipFill>
        </p:spPr>
        <p:txBody>
          <a:bodyPr wrap="square">
            <a:noAutofit/>
          </a:bodyPr>
          <a:lstStyle>
            <a:lvl1pPr>
              <a:buNone/>
              <a:defRPr sz="100">
                <a:solidFill>
                  <a:srgbClr val="010000"/>
                </a:solidFill>
              </a:defRPr>
            </a:lvl1pPr>
          </a:lstStyle>
          <a:p>
            <a:r>
              <a:rPr lang="en-US"/>
              <a:t> </a:t>
            </a:r>
            <a:endParaRPr lang="nb-NO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274B25-4F08-4647-B26F-8F7A227C894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0846" y="370846"/>
            <a:ext cx="10633710" cy="5327812"/>
          </a:xfrm>
          <a:solidFill>
            <a:srgbClr val="CFE9DE"/>
          </a:solidFill>
        </p:spPr>
        <p:txBody>
          <a:bodyPr/>
          <a:lstStyle>
            <a:lvl1pPr marL="0" indent="0">
              <a:buNone/>
              <a:defRPr sz="100" b="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  <a:endParaRPr lang="nb-NO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90EC18-B2B0-476F-9B79-1FAB5B83243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02913" y="2228671"/>
            <a:ext cx="5505723" cy="1200329"/>
          </a:xfrm>
        </p:spPr>
        <p:txBody>
          <a:bodyPr anchor="b">
            <a:noAutofit/>
          </a:bodyPr>
          <a:lstStyle>
            <a:lvl1pPr algn="l"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err="1"/>
              <a:t>Kapitteltittel</a:t>
            </a:r>
            <a:r>
              <a:rPr lang="en-US"/>
              <a:t> </a:t>
            </a:r>
            <a:r>
              <a:rPr lang="en-US" err="1"/>
              <a:t>kan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være</a:t>
            </a:r>
            <a:r>
              <a:rPr lang="en-US"/>
              <a:t> over to </a:t>
            </a:r>
            <a:r>
              <a:rPr lang="en-US" err="1"/>
              <a:t>linjer</a:t>
            </a:r>
            <a:endParaRPr lang="nb-NO"/>
          </a:p>
        </p:txBody>
      </p:sp>
      <p:sp>
        <p:nvSpPr>
          <p:cNvPr id="3" name="VM_Subtitle">
            <a:extLst>
              <a:ext uri="{FF2B5EF4-FFF2-40B4-BE49-F238E27FC236}">
                <a16:creationId xmlns:a16="http://schemas.microsoft.com/office/drawing/2014/main" id="{BE245B31-256B-4724-9A48-52FAF0FEBD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02911" y="3585231"/>
            <a:ext cx="5505723" cy="1200329"/>
          </a:xfrm>
        </p:spPr>
        <p:txBody>
          <a:bodyPr lIns="0" tIns="0" rIns="0" bIns="0">
            <a:normAutofit/>
          </a:bodyPr>
          <a:lstStyle>
            <a:lvl1pPr marL="0" indent="0" algn="l">
              <a:buNone/>
              <a:defRPr sz="2000" b="0">
                <a:solidFill>
                  <a:schemeClr val="tx1"/>
                </a:solidFill>
                <a:latin typeface="Vinmonopolet Ingress Medium" panose="000006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err="1"/>
              <a:t>Undertittel</a:t>
            </a:r>
            <a:r>
              <a:rPr lang="en-US"/>
              <a:t> over </a:t>
            </a:r>
            <a:r>
              <a:rPr lang="en-US" err="1"/>
              <a:t>en</a:t>
            </a:r>
            <a:r>
              <a:rPr lang="en-US"/>
              <a:t> </a:t>
            </a:r>
            <a:r>
              <a:rPr lang="en-US" err="1"/>
              <a:t>eller</a:t>
            </a:r>
            <a:r>
              <a:rPr lang="en-US"/>
              <a:t> to </a:t>
            </a:r>
            <a:r>
              <a:rPr lang="en-US" err="1"/>
              <a:t>linjer</a:t>
            </a:r>
            <a:endParaRPr lang="nb-NO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3F33C46-7FC5-465A-9D6F-ED09A493B39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96548" y="386045"/>
            <a:ext cx="3057525" cy="5151155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35000" b="0">
                <a:solidFill>
                  <a:schemeClr val="tx1"/>
                </a:solidFill>
                <a:latin typeface="Vinmonopolet Tittel Bold" panose="00000800000000000000" pitchFamily="50" charset="0"/>
              </a:defRPr>
            </a:lvl1pPr>
          </a:lstStyle>
          <a:p>
            <a:pPr lvl="0"/>
            <a:r>
              <a:rPr lang="nb-NO"/>
              <a:t>#</a:t>
            </a:r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F5C27E07-19FA-4DE2-A494-84125D0A7E9B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kap6, kapfor3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2E192117-6775-45EE-86A5-606E759A25E9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DDA15EF8-3D99-4CC4-973E-C3DC291529C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46610C1D-11E7-4D71-A577-6B6318C68CE6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2F725052-0819-4448-8ED5-739E07113B4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2" name="addin_grouplist" hidden="1">
            <a:extLst>
              <a:ext uri="{FF2B5EF4-FFF2-40B4-BE49-F238E27FC236}">
                <a16:creationId xmlns:a16="http://schemas.microsoft.com/office/drawing/2014/main" id="{B9E35A68-7631-4973-A1A9-F00536D2B90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188460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 med Nr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ssholder for bilde 17">
            <a:extLst>
              <a:ext uri="{FF2B5EF4-FFF2-40B4-BE49-F238E27FC236}">
                <a16:creationId xmlns:a16="http://schemas.microsoft.com/office/drawing/2014/main" id="{36082275-3DDF-4855-8E9A-1B4A560011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70840" y="369443"/>
            <a:ext cx="10633710" cy="5327812"/>
          </a:xfrm>
          <a:custGeom>
            <a:avLst/>
            <a:gdLst>
              <a:gd name="connsiteX0" fmla="*/ 0 w 10633710"/>
              <a:gd name="connsiteY0" fmla="*/ 0 h 5327812"/>
              <a:gd name="connsiteX1" fmla="*/ 10633710 w 10633710"/>
              <a:gd name="connsiteY1" fmla="*/ 0 h 5327812"/>
              <a:gd name="connsiteX2" fmla="*/ 10633710 w 10633710"/>
              <a:gd name="connsiteY2" fmla="*/ 791300 h 5327812"/>
              <a:gd name="connsiteX3" fmla="*/ 816610 w 10633710"/>
              <a:gd name="connsiteY3" fmla="*/ 791300 h 5327812"/>
              <a:gd name="connsiteX4" fmla="*/ 816610 w 10633710"/>
              <a:gd name="connsiteY4" fmla="*/ 5327812 h 5327812"/>
              <a:gd name="connsiteX5" fmla="*/ 0 w 10633710"/>
              <a:gd name="connsiteY5" fmla="*/ 5327812 h 5327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633710" h="5327812">
                <a:moveTo>
                  <a:pt x="0" y="0"/>
                </a:moveTo>
                <a:lnTo>
                  <a:pt x="10633710" y="0"/>
                </a:lnTo>
                <a:lnTo>
                  <a:pt x="10633710" y="791300"/>
                </a:lnTo>
                <a:lnTo>
                  <a:pt x="816610" y="791300"/>
                </a:lnTo>
                <a:lnTo>
                  <a:pt x="816610" y="5327812"/>
                </a:lnTo>
                <a:lnTo>
                  <a:pt x="0" y="5327812"/>
                </a:lnTo>
                <a:close/>
              </a:path>
            </a:pathLst>
          </a:custGeom>
          <a:blipFill>
            <a:blip r:embed="rId2"/>
            <a:stretch>
              <a:fillRect t="-509" b="-509"/>
            </a:stretch>
          </a:blipFill>
        </p:spPr>
        <p:txBody>
          <a:bodyPr wrap="square">
            <a:noAutofit/>
          </a:bodyPr>
          <a:lstStyle>
            <a:lvl1pPr>
              <a:defRPr sz="3200"/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61BD0803-870C-4DEA-A035-EB48EADA28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87450" y="1155744"/>
            <a:ext cx="10633710" cy="5327812"/>
          </a:xfrm>
          <a:solidFill>
            <a:srgbClr val="CFE9DE"/>
          </a:solidFill>
        </p:spPr>
        <p:txBody>
          <a:bodyPr/>
          <a:lstStyle>
            <a:lvl1pPr marL="0" indent="0">
              <a:buNone/>
              <a:defRPr sz="100" b="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  <a:endParaRPr lang="nb-NO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90EC18-B2B0-476F-9B79-1FAB5B83243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953577" y="3006123"/>
            <a:ext cx="5050973" cy="1200329"/>
          </a:xfrm>
        </p:spPr>
        <p:txBody>
          <a:bodyPr anchor="b">
            <a:noAutofit/>
          </a:bodyPr>
          <a:lstStyle>
            <a:lvl1pPr algn="l"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err="1"/>
              <a:t>Kapitteltittel</a:t>
            </a:r>
            <a:r>
              <a:rPr lang="en-US"/>
              <a:t> </a:t>
            </a:r>
            <a:r>
              <a:rPr lang="en-US" err="1"/>
              <a:t>kan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være</a:t>
            </a:r>
            <a:r>
              <a:rPr lang="en-US"/>
              <a:t> over to </a:t>
            </a:r>
            <a:r>
              <a:rPr lang="en-US" err="1"/>
              <a:t>linjer</a:t>
            </a:r>
            <a:endParaRPr lang="nb-NO"/>
          </a:p>
        </p:txBody>
      </p:sp>
      <p:sp>
        <p:nvSpPr>
          <p:cNvPr id="3" name="VM_Subtitle">
            <a:extLst>
              <a:ext uri="{FF2B5EF4-FFF2-40B4-BE49-F238E27FC236}">
                <a16:creationId xmlns:a16="http://schemas.microsoft.com/office/drawing/2014/main" id="{BE245B31-256B-4724-9A48-52FAF0FEBD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953577" y="4362683"/>
            <a:ext cx="5050974" cy="1200329"/>
          </a:xfrm>
        </p:spPr>
        <p:txBody>
          <a:bodyPr lIns="0" tIns="0" rIns="0" bIns="0">
            <a:normAutofit/>
          </a:bodyPr>
          <a:lstStyle>
            <a:lvl1pPr marL="0" indent="0" algn="l">
              <a:buNone/>
              <a:defRPr sz="2000" b="0">
                <a:solidFill>
                  <a:schemeClr val="tx1"/>
                </a:solidFill>
                <a:latin typeface="Vinmonopolet Ingress Medium" panose="000006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err="1"/>
              <a:t>Undertittel</a:t>
            </a:r>
            <a:r>
              <a:rPr lang="en-US"/>
              <a:t> over </a:t>
            </a:r>
            <a:r>
              <a:rPr lang="en-US" err="1"/>
              <a:t>en</a:t>
            </a:r>
            <a:r>
              <a:rPr lang="en-US"/>
              <a:t> </a:t>
            </a:r>
            <a:r>
              <a:rPr lang="en-US" err="1"/>
              <a:t>eller</a:t>
            </a:r>
            <a:r>
              <a:rPr lang="en-US"/>
              <a:t> to </a:t>
            </a:r>
            <a:r>
              <a:rPr lang="en-US" err="1"/>
              <a:t>linjer</a:t>
            </a:r>
            <a:endParaRPr lang="nb-NO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3F33C46-7FC5-465A-9D6F-ED09A493B39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65800" y="1160745"/>
            <a:ext cx="3057525" cy="5151155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35000" b="0">
                <a:solidFill>
                  <a:schemeClr val="tx1"/>
                </a:solidFill>
                <a:latin typeface="Vinmonopolet Tittel Bold" panose="00000800000000000000" pitchFamily="50" charset="0"/>
              </a:defRPr>
            </a:lvl1pPr>
          </a:lstStyle>
          <a:p>
            <a:pPr lvl="0"/>
            <a:r>
              <a:rPr lang="nb-NO"/>
              <a:t>#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B6C9E0E6-A43F-4DC3-8A1A-10BBF19A5F7C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A743FA5F-CD73-4275-9298-CEC55D8B05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99B8D9FC-53A5-40E2-B2F6-40F218B1D97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3" name="addin_image" hidden="1">
            <a:extLst>
              <a:ext uri="{FF2B5EF4-FFF2-40B4-BE49-F238E27FC236}">
                <a16:creationId xmlns:a16="http://schemas.microsoft.com/office/drawing/2014/main" id="{FB909FC2-28A2-4F41-8901-C62870D41BD1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57E6A85-5F3B-453F-9B6C-5A962EBE5D8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kap6, kapfor3</a:t>
            </a:r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C3CB0CE-7418-40B6-9B91-88871F57E0C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91211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E932CF-A433-4359-A40C-4FAF0CF117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 err="1"/>
              <a:t>Overskrift</a:t>
            </a:r>
            <a:r>
              <a:rPr lang="en-US"/>
              <a:t> over </a:t>
            </a:r>
            <a:r>
              <a:rPr lang="en-US" err="1"/>
              <a:t>maks</a:t>
            </a:r>
            <a:r>
              <a:rPr lang="en-US"/>
              <a:t> to </a:t>
            </a:r>
            <a:r>
              <a:rPr lang="en-US" err="1"/>
              <a:t>linjer</a:t>
            </a:r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107523-5338-4032-A2CC-D726BD0FC3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/>
            </a:lvl1pPr>
          </a:lstStyle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8CCC97-1455-4FC6-9065-263008AB3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/>
            </a:lvl1pPr>
          </a:lstStyle>
          <a:p>
            <a:fld id="{87AFF737-8834-469A-9016-7BBDA59936F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2BDAE3D-719B-4523-A19B-AE7C9A1C1BE9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838200" y="1944686"/>
            <a:ext cx="10515600" cy="4291736"/>
          </a:xfrm>
        </p:spPr>
        <p:txBody>
          <a:bodyPr lIns="0" tIns="0" rIns="0" bIns="0"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081782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E932CF-A433-4359-A40C-4FAF0CF117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 err="1"/>
              <a:t>Overskrift</a:t>
            </a:r>
            <a:r>
              <a:rPr lang="en-US"/>
              <a:t> over </a:t>
            </a:r>
            <a:r>
              <a:rPr lang="en-US" err="1"/>
              <a:t>maks</a:t>
            </a:r>
            <a:r>
              <a:rPr lang="en-US"/>
              <a:t> to </a:t>
            </a:r>
            <a:r>
              <a:rPr lang="en-US" err="1"/>
              <a:t>linjer</a:t>
            </a:r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107523-5338-4032-A2CC-D726BD0FC3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/>
            </a:lvl1pPr>
          </a:lstStyle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8CCC97-1455-4FC6-9065-263008AB3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/>
            </a:lvl1pPr>
          </a:lstStyle>
          <a:p>
            <a:fld id="{87AFF737-8834-469A-9016-7BBDA59936F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C4B4FF01-E082-456B-935D-06D5365BDFA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19667" y="1944686"/>
            <a:ext cx="5034133" cy="4291736"/>
          </a:xfrm>
          <a:prstGeom prst="rect">
            <a:avLst/>
          </a:prstGeom>
        </p:spPr>
        <p:txBody>
          <a:bodyPr lIns="0" tIns="0" rIns="0" bIns="0"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F5F3FB1-AFA0-4E9A-B5AC-1FC76987304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1" y="1944686"/>
            <a:ext cx="5011057" cy="4291736"/>
          </a:xfrm>
          <a:prstGeom prst="rect">
            <a:avLst/>
          </a:prstGeom>
        </p:spPr>
        <p:txBody>
          <a:bodyPr lIns="0" tIns="0" rIns="0" bIns="0"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705022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1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image" Target="../media/image15.emf"/><Relationship Id="rId5" Type="http://schemas.openxmlformats.org/officeDocument/2006/relationships/slideLayout" Target="../slideLayouts/slideLayout33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32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E05B82C-FB53-4E20-9E6A-8C61CE970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14410"/>
            <a:ext cx="10515600" cy="1077218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 err="1"/>
              <a:t>Overskrift</a:t>
            </a:r>
            <a:r>
              <a:rPr lang="en-US"/>
              <a:t> over </a:t>
            </a:r>
            <a:r>
              <a:rPr lang="en-US" err="1"/>
              <a:t>én</a:t>
            </a:r>
            <a:r>
              <a:rPr lang="en-US"/>
              <a:t> </a:t>
            </a:r>
            <a:r>
              <a:rPr lang="en-US" err="1"/>
              <a:t>linje</a:t>
            </a:r>
            <a:br>
              <a:rPr lang="en-US"/>
            </a:br>
            <a:r>
              <a:rPr lang="en-US" err="1"/>
              <a:t>eller</a:t>
            </a:r>
            <a:r>
              <a:rPr lang="en-US"/>
              <a:t> </a:t>
            </a:r>
            <a:r>
              <a:rPr lang="en-US" err="1"/>
              <a:t>maks</a:t>
            </a:r>
            <a:r>
              <a:rPr lang="en-US"/>
              <a:t> to </a:t>
            </a:r>
            <a:r>
              <a:rPr lang="en-US" err="1"/>
              <a:t>linjer</a:t>
            </a:r>
            <a:endParaRPr lang="nb-NO"/>
          </a:p>
        </p:txBody>
      </p:sp>
      <p:sp>
        <p:nvSpPr>
          <p:cNvPr id="3" name="Text Placeholder 2" hidden="1">
            <a:extLst>
              <a:ext uri="{FF2B5EF4-FFF2-40B4-BE49-F238E27FC236}">
                <a16:creationId xmlns:a16="http://schemas.microsoft.com/office/drawing/2014/main" id="{256CD093-ACF8-4473-9FEF-F94169B79B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944686"/>
            <a:ext cx="10515600" cy="42917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27F6A2-7A26-47F0-8A52-8AA68EB4C7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199" y="6401593"/>
            <a:ext cx="4005263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BFE1BF-8511-4659-8431-5270D09EDD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7640" y="6401593"/>
            <a:ext cx="35673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87AFF737-8834-469A-9016-7BBDA59936F1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Bilde 6">
            <a:extLst>
              <a:ext uri="{FF2B5EF4-FFF2-40B4-BE49-F238E27FC236}">
                <a16:creationId xmlns:a16="http://schemas.microsoft.com/office/drawing/2014/main" id="{3EC6D5FC-EFD0-4B04-A9C2-43698421441F}"/>
              </a:ext>
            </a:extLst>
          </p:cNvPr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9945006" y="6518979"/>
            <a:ext cx="1425789" cy="108000"/>
          </a:xfrm>
          <a:prstGeom prst="rect">
            <a:avLst/>
          </a:prstGeom>
        </p:spPr>
      </p:pic>
      <p:sp>
        <p:nvSpPr>
          <p:cNvPr id="7" name="addin_colorpicker" hidden="1">
            <a:extLst>
              <a:ext uri="{FF2B5EF4-FFF2-40B4-BE49-F238E27FC236}">
                <a16:creationId xmlns:a16="http://schemas.microsoft.com/office/drawing/2014/main" id="{DE663DD0-D518-495A-9F8E-588902914255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6FFECF0-E251-D445-0AA1-615A2251449F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73025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Aptos" panose="020B0004020202020204" pitchFamily="34" charset="0"/>
              </a:rPr>
              <a:t>Internal Only</a:t>
            </a:r>
          </a:p>
        </p:txBody>
      </p:sp>
    </p:spTree>
    <p:extLst>
      <p:ext uri="{BB962C8B-B14F-4D97-AF65-F5344CB8AC3E}">
        <p14:creationId xmlns:p14="http://schemas.microsoft.com/office/powerpoint/2010/main" val="15775434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4400" indent="-2844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68800" indent="-2844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853200" indent="-2844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137600" indent="-2844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422000" indent="-2844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5D63EAF-6218-4E87-8BD8-D27B41F9E1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5" progId="TCLayout.ActiveDocument.1">
                  <p:embed/>
                </p:oleObj>
              </mc:Choice>
              <mc:Fallback>
                <p:oleObj name="think-cell Slide" r:id="rId10" imgW="592" imgH="59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5D63EAF-6218-4E87-8BD8-D27B41F9E1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354319CE-25EB-4972-892D-F2CF74C3FFF4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b-NO" sz="4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AF64283A-0229-42A0-8016-1494D503F9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160AC7E6-7115-4575-93BE-D29139243D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6EA9D664-687B-4032-B4F5-D6C86C06CC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A7AF53-D7B5-467D-A95B-5453D74169F6}" type="datetimeFigureOut">
              <a:rPr lang="nb-NO" smtClean="0"/>
              <a:t>26.11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B61CC7B-5C1D-42CC-8D28-75CD1FC323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335934F1-D1F8-402D-8E31-49B176006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F74174-18D1-4B64-9882-32A948F05EB5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AB9114E-A435-F050-9E2C-5A66D8976881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73025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Aptos" panose="020B0004020202020204" pitchFamily="34" charset="0"/>
              </a:rPr>
              <a:t>Internal Only</a:t>
            </a:r>
          </a:p>
        </p:txBody>
      </p:sp>
    </p:spTree>
    <p:extLst>
      <p:ext uri="{BB962C8B-B14F-4D97-AF65-F5344CB8AC3E}">
        <p14:creationId xmlns:p14="http://schemas.microsoft.com/office/powerpoint/2010/main" val="26302897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3" r:id="rId5"/>
    <p:sldLayoutId id="2147483684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vmp.sharepoint.com/:x:/r/sites/Prosjektportal/Delte%20dokumenter/02%20Maler/Gevinstplan%20og%20business%20case.xlsm?d=wf88b5684d7a7431d8789e7625bb3d011&amp;csf=1&amp;e=n8HGK7" TargetMode="Externa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hyperlink" Target="https://vmp.sharepoint.com/:x:/r/sites/Prosjektportal/Delte%20dokumenter/02%20Maler/Gevinstplan%20og%20business%20case.xlsm?d=wf88b5684d7a7431d8789e7625bb3d011&amp;csf=1&amp;e=sekVbk" TargetMode="Externa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9252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B490D5-F83A-4091-92DB-A2045F77896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5001491"/>
            <a:ext cx="9144000" cy="577642"/>
          </a:xfrm>
        </p:spPr>
        <p:txBody>
          <a:bodyPr/>
          <a:lstStyle/>
          <a:p>
            <a:pPr algn="l">
              <a:spcBef>
                <a:spcPts val="0"/>
              </a:spcBef>
              <a:defRPr/>
            </a:pPr>
            <a:r>
              <a:rPr lang="nb-NO" sz="180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{{</a:t>
            </a:r>
            <a:r>
              <a:rPr lang="nb-NO" sz="1800" dirty="0" err="1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List:</a:t>
            </a:r>
            <a:r>
              <a:rPr lang="nb-NO" sz="1800" dirty="0" err="1">
                <a:solidFill>
                  <a:schemeClr val="bg1"/>
                </a:solidFill>
                <a:latin typeface="+mn-lt"/>
              </a:rPr>
              <a:t>Prosjektegenskaper</a:t>
            </a:r>
            <a:r>
              <a:rPr lang="nb-NO" sz="1800" dirty="0" err="1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;Fields:</a:t>
            </a:r>
            <a:r>
              <a:rPr lang="nb-NO" sz="1800" dirty="0" err="1">
                <a:solidFill>
                  <a:schemeClr val="bg1"/>
                </a:solidFill>
                <a:latin typeface="+mn-lt"/>
              </a:rPr>
              <a:t>Title</a:t>
            </a:r>
            <a:r>
              <a:rPr lang="nb-NO" sz="180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}}</a:t>
            </a:r>
            <a:endParaRPr lang="nb-NO" sz="1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4F22D1D-8400-4164-B030-381870A155E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buClr>
                <a:srgbClr val="D0EADE"/>
              </a:buClr>
            </a:pPr>
            <a:r>
              <a:rPr lang="nb-NO">
                <a:solidFill>
                  <a:srgbClr val="D0EADE"/>
                </a:solidFill>
              </a:rPr>
              <a:t>Dato</a:t>
            </a:r>
          </a:p>
        </p:txBody>
      </p:sp>
      <p:grpSp>
        <p:nvGrpSpPr>
          <p:cNvPr id="7" name="logo_">
            <a:extLst>
              <a:ext uri="{FF2B5EF4-FFF2-40B4-BE49-F238E27FC236}">
                <a16:creationId xmlns:a16="http://schemas.microsoft.com/office/drawing/2014/main" id="{85A6440B-D9E6-47A8-BC7F-DCD5C159FFD1}"/>
              </a:ext>
            </a:extLst>
          </p:cNvPr>
          <p:cNvGrpSpPr/>
          <p:nvPr/>
        </p:nvGrpSpPr>
        <p:grpSpPr>
          <a:xfrm>
            <a:off x="4000500" y="712253"/>
            <a:ext cx="4165600" cy="3554038"/>
            <a:chOff x="4000500" y="712253"/>
            <a:chExt cx="4165600" cy="3554038"/>
          </a:xfrm>
        </p:grpSpPr>
        <p:sp>
          <p:nvSpPr>
            <p:cNvPr id="8" name="Rektangel 7">
              <a:extLst>
                <a:ext uri="{FF2B5EF4-FFF2-40B4-BE49-F238E27FC236}">
                  <a16:creationId xmlns:a16="http://schemas.microsoft.com/office/drawing/2014/main" id="{C822A959-1E38-4690-9FA6-CDC91C1775FF}"/>
                </a:ext>
              </a:extLst>
            </p:cNvPr>
            <p:cNvSpPr/>
            <p:nvPr userDrawn="1"/>
          </p:nvSpPr>
          <p:spPr>
            <a:xfrm>
              <a:off x="4000500" y="712253"/>
              <a:ext cx="4165600" cy="3554038"/>
            </a:xfrm>
            <a:prstGeom prst="rect">
              <a:avLst/>
            </a:prstGeom>
            <a:solidFill>
              <a:srgbClr val="0925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9" name="Bilde 8">
              <a:extLst>
                <a:ext uri="{FF2B5EF4-FFF2-40B4-BE49-F238E27FC236}">
                  <a16:creationId xmlns:a16="http://schemas.microsoft.com/office/drawing/2014/main" id="{029CCF38-998F-4807-8924-505848E98FE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4451554" y="1026124"/>
              <a:ext cx="3288892" cy="3240167"/>
            </a:xfrm>
            <a:prstGeom prst="rect">
              <a:avLst/>
            </a:prstGeom>
          </p:spPr>
        </p:pic>
      </p:grpSp>
      <p:sp>
        <p:nvSpPr>
          <p:cNvPr id="10" name="Rektangel 9">
            <a:extLst>
              <a:ext uri="{FF2B5EF4-FFF2-40B4-BE49-F238E27FC236}">
                <a16:creationId xmlns:a16="http://schemas.microsoft.com/office/drawing/2014/main" id="{3F081556-8397-4B1A-B1F3-FB6C6787007F}"/>
              </a:ext>
            </a:extLst>
          </p:cNvPr>
          <p:cNvSpPr/>
          <p:nvPr/>
        </p:nvSpPr>
        <p:spPr>
          <a:xfrm>
            <a:off x="8020050" y="163429"/>
            <a:ext cx="3984518" cy="1903496"/>
          </a:xfrm>
          <a:prstGeom prst="rect">
            <a:avLst/>
          </a:prstGeom>
          <a:solidFill>
            <a:schemeClr val="lt1">
              <a:alpha val="67000"/>
            </a:schemeClr>
          </a:solidFill>
          <a:ln w="19050">
            <a:solidFill>
              <a:schemeClr val="accent4">
                <a:lumMod val="50000"/>
              </a:schemeClr>
            </a:solidFill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171450" indent="-171450" algn="ctr">
              <a:buFontTx/>
              <a:buChar char="-"/>
            </a:pPr>
            <a:r>
              <a:rPr lang="nb-NO" sz="1200">
                <a:solidFill>
                  <a:schemeClr val="tx1"/>
                </a:solidFill>
              </a:rPr>
              <a:t>Styringsdokumentet definerer prosjektet </a:t>
            </a:r>
          </a:p>
          <a:p>
            <a:pPr marL="171450" indent="-171450" algn="ctr">
              <a:buFontTx/>
              <a:buChar char="-"/>
            </a:pPr>
            <a:r>
              <a:rPr lang="nb-NO" sz="1200">
                <a:solidFill>
                  <a:schemeClr val="tx1"/>
                </a:solidFill>
              </a:rPr>
              <a:t>Malen henter mye fra prosjektforslaget men i styringsdokumentet forventes større detaljering og konkretisering </a:t>
            </a:r>
          </a:p>
          <a:p>
            <a:pPr marL="171450" indent="-171450" algn="ctr">
              <a:buFontTx/>
              <a:buChar char="-"/>
            </a:pPr>
            <a:r>
              <a:rPr lang="nb-NO" sz="1200">
                <a:solidFill>
                  <a:schemeClr val="tx1"/>
                </a:solidFill>
              </a:rPr>
              <a:t>Et viktig beslutningsunderlag for om prosjektet skal gjennomføres</a:t>
            </a:r>
          </a:p>
          <a:p>
            <a:pPr marL="171450" indent="-171450" algn="ctr">
              <a:buFontTx/>
              <a:buChar char="-"/>
            </a:pPr>
            <a:r>
              <a:rPr lang="nb-NO" sz="1200">
                <a:solidFill>
                  <a:schemeClr val="tx1"/>
                </a:solidFill>
              </a:rPr>
              <a:t>Et levende dokument som skal gjenspeile nåværende status, men versjonen som ble brukt ved BP3 beholdes som et grunnlag som prosjektet senere vurderes opp mot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7CE5EFF5-9115-091B-A0C5-DC01EDAD69C0}"/>
              </a:ext>
            </a:extLst>
          </p:cNvPr>
          <p:cNvSpPr txBox="1"/>
          <p:nvPr/>
        </p:nvSpPr>
        <p:spPr>
          <a:xfrm>
            <a:off x="1524000" y="4449225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dirty="0">
                <a:solidFill>
                  <a:srgbClr val="D0EADE"/>
                </a:solidFill>
              </a:rPr>
              <a:t>Styringsdokument 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740813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oup 91">
            <a:extLst>
              <a:ext uri="{FF2B5EF4-FFF2-40B4-BE49-F238E27FC236}">
                <a16:creationId xmlns:a16="http://schemas.microsoft.com/office/drawing/2014/main" id="{0185D769-B042-4FF9-B44E-7AF0BD3953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137304"/>
              </p:ext>
            </p:extLst>
          </p:nvPr>
        </p:nvGraphicFramePr>
        <p:xfrm>
          <a:off x="4345663" y="3354761"/>
          <a:ext cx="7484493" cy="2728842"/>
        </p:xfrm>
        <a:graphic>
          <a:graphicData uri="http://schemas.openxmlformats.org/drawingml/2006/table">
            <a:tbl>
              <a:tblPr/>
              <a:tblGrid>
                <a:gridCol w="23836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36156">
                  <a:extLst>
                    <a:ext uri="{9D8B030D-6E8A-4147-A177-3AD203B41FA5}">
                      <a16:colId xmlns:a16="http://schemas.microsoft.com/office/drawing/2014/main" val="454613718"/>
                    </a:ext>
                  </a:extLst>
                </a:gridCol>
                <a:gridCol w="6572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66750">
                  <a:extLst>
                    <a:ext uri="{9D8B030D-6E8A-4147-A177-3AD203B41FA5}">
                      <a16:colId xmlns:a16="http://schemas.microsoft.com/office/drawing/2014/main" val="4088014078"/>
                    </a:ext>
                  </a:extLst>
                </a:gridCol>
                <a:gridCol w="540751">
                  <a:extLst>
                    <a:ext uri="{9D8B030D-6E8A-4147-A177-3AD203B41FA5}">
                      <a16:colId xmlns:a16="http://schemas.microsoft.com/office/drawing/2014/main" val="1488424830"/>
                    </a:ext>
                  </a:extLst>
                </a:gridCol>
              </a:tblGrid>
              <a:tr h="47332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Prosjektgruppe</a:t>
                      </a:r>
                    </a:p>
                  </a:txBody>
                  <a:tcPr marL="90000" marR="90000" marT="46800" marB="46800" anchor="ctr" anchorCtr="1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Ansvar i prosjektet</a:t>
                      </a:r>
                    </a:p>
                  </a:txBody>
                  <a:tcPr marL="90000" marR="90000" marT="46800" marB="46800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%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fase 1</a:t>
                      </a:r>
                    </a:p>
                  </a:txBody>
                  <a:tcPr marL="90000" marR="90000" marT="46800" marB="46800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nb-NO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%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nb-NO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fase 2</a:t>
                      </a:r>
                    </a:p>
                  </a:txBody>
                  <a:tcPr marL="90000" marR="90000" marT="46800" marB="46800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nb-NO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%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nb-NO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fase 3</a:t>
                      </a:r>
                    </a:p>
                  </a:txBody>
                  <a:tcPr marL="90000" marR="90000" marT="46800" marB="46800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1673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Rune Øverby (Aud- Tone, Yvonne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Nina Hallenberg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tig Sætre Jørpeland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Jane Merete Bjørnholt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Lindis Renate Liljevold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John Inge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Ann Kristin H. Bakkeng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endParaRPr kumimoji="0" lang="nb-NO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endParaRPr kumimoji="0" lang="nb-NO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endParaRPr kumimoji="0" lang="nb-NO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endParaRPr kumimoji="0" lang="nb-NO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endParaRPr kumimoji="0" lang="nb-NO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Butikkutvikling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Innsikt – kunde og medarbeider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Analyse økonomi, salgsutvikling og ansvarlig salg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Butikksjef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Distriktsjef</a:t>
                      </a:r>
                      <a:endParaRPr kumimoji="0" lang="nb-NO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IT og leverandører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Kategori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%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nb-NO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%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endParaRPr kumimoji="0" lang="nb-NO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nb-NO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%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endParaRPr kumimoji="0" lang="nb-NO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6" name="Group 90">
            <a:extLst>
              <a:ext uri="{FF2B5EF4-FFF2-40B4-BE49-F238E27FC236}">
                <a16:creationId xmlns:a16="http://schemas.microsoft.com/office/drawing/2014/main" id="{7D669E86-496E-4734-AFB3-143261E226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4346921"/>
              </p:ext>
            </p:extLst>
          </p:nvPr>
        </p:nvGraphicFramePr>
        <p:xfrm>
          <a:off x="4372081" y="1386460"/>
          <a:ext cx="4112626" cy="1221416"/>
        </p:xfrm>
        <a:graphic>
          <a:graphicData uri="http://schemas.openxmlformats.org/drawingml/2006/table">
            <a:tbl>
              <a:tblPr/>
              <a:tblGrid>
                <a:gridCol w="41126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1550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Styringsgruppe</a:t>
                      </a:r>
                    </a:p>
                  </a:txBody>
                  <a:tcPr marL="90000" marR="90000" marT="46814" marB="46814" anchor="ctr" anchorCtr="1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0438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Linda Frid Andresen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Geir </a:t>
                      </a:r>
                      <a:r>
                        <a:rPr kumimoji="0" lang="nb-NO" sz="10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oseter</a:t>
                      </a:r>
                      <a:endParaRPr kumimoji="0" lang="nb-NO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Lars Thorenfeldt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endParaRPr kumimoji="0" lang="nb-NO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endParaRPr kumimoji="0" lang="nb-NO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34" marB="45734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8" name="Group 62">
            <a:extLst>
              <a:ext uri="{FF2B5EF4-FFF2-40B4-BE49-F238E27FC236}">
                <a16:creationId xmlns:a16="http://schemas.microsoft.com/office/drawing/2014/main" id="{D5B07C27-B836-46F8-B40C-6FD875CC1D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9393536"/>
              </p:ext>
            </p:extLst>
          </p:nvPr>
        </p:nvGraphicFramePr>
        <p:xfrm>
          <a:off x="4372081" y="2574282"/>
          <a:ext cx="4112626" cy="658309"/>
        </p:xfrm>
        <a:graphic>
          <a:graphicData uri="http://schemas.openxmlformats.org/drawingml/2006/table">
            <a:tbl>
              <a:tblPr/>
              <a:tblGrid>
                <a:gridCol w="33873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5267">
                  <a:extLst>
                    <a:ext uri="{9D8B030D-6E8A-4147-A177-3AD203B41FA5}">
                      <a16:colId xmlns:a16="http://schemas.microsoft.com/office/drawing/2014/main" val="1084144673"/>
                    </a:ext>
                  </a:extLst>
                </a:gridCol>
              </a:tblGrid>
              <a:tr h="34049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Prosjektleder</a:t>
                      </a:r>
                    </a:p>
                  </a:txBody>
                  <a:tcPr marL="90000" marR="90000" marT="46855" marB="46855" anchor="ctr" anchorCtr="1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%</a:t>
                      </a:r>
                    </a:p>
                  </a:txBody>
                  <a:tcPr marL="90000" marR="90000" marT="46855" marB="46855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781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agne Nafstad Hertzenberg</a:t>
                      </a:r>
                    </a:p>
                  </a:txBody>
                  <a:tcPr marT="45774" marB="45774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0%</a:t>
                      </a:r>
                    </a:p>
                  </a:txBody>
                  <a:tcPr marT="45774" marB="4577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2" name="Group 62">
            <a:extLst>
              <a:ext uri="{FF2B5EF4-FFF2-40B4-BE49-F238E27FC236}">
                <a16:creationId xmlns:a16="http://schemas.microsoft.com/office/drawing/2014/main" id="{D0EC760F-2997-4771-91A5-5D2DB099C0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8866447"/>
              </p:ext>
            </p:extLst>
          </p:nvPr>
        </p:nvGraphicFramePr>
        <p:xfrm>
          <a:off x="8610600" y="730441"/>
          <a:ext cx="3219556" cy="533849"/>
        </p:xfrm>
        <a:graphic>
          <a:graphicData uri="http://schemas.openxmlformats.org/drawingml/2006/table">
            <a:tbl>
              <a:tblPr/>
              <a:tblGrid>
                <a:gridCol w="32195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1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Gevinsteier:</a:t>
                      </a:r>
                    </a:p>
                  </a:txBody>
                  <a:tcPr marL="90000" marR="90000" marT="46855" marB="46855" anchor="ctr" anchorCtr="1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783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Linda Frid Andresen</a:t>
                      </a:r>
                    </a:p>
                  </a:txBody>
                  <a:tcPr marT="45774" marB="45774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21" name="Group 62">
            <a:extLst>
              <a:ext uri="{FF2B5EF4-FFF2-40B4-BE49-F238E27FC236}">
                <a16:creationId xmlns:a16="http://schemas.microsoft.com/office/drawing/2014/main" id="{D8E20100-4C2B-48D8-9D3A-25AFFB814D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1290022"/>
              </p:ext>
            </p:extLst>
          </p:nvPr>
        </p:nvGraphicFramePr>
        <p:xfrm>
          <a:off x="4374257" y="724540"/>
          <a:ext cx="4110452" cy="539750"/>
        </p:xfrm>
        <a:graphic>
          <a:graphicData uri="http://schemas.openxmlformats.org/drawingml/2006/table">
            <a:tbl>
              <a:tblPr/>
              <a:tblGrid>
                <a:gridCol w="41104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9562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Prosjekteier:</a:t>
                      </a:r>
                    </a:p>
                  </a:txBody>
                  <a:tcPr marL="90000" marR="90000" marT="46855" marB="46855" anchor="ctr" anchorCtr="1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412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Linda Frid Andresen</a:t>
                      </a:r>
                    </a:p>
                  </a:txBody>
                  <a:tcPr marT="45774" marB="45774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28" name="Group 94">
            <a:extLst>
              <a:ext uri="{FF2B5EF4-FFF2-40B4-BE49-F238E27FC236}">
                <a16:creationId xmlns:a16="http://schemas.microsoft.com/office/drawing/2014/main" id="{854E9AC1-1D87-481A-A0D5-7BACA238B9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4363750"/>
              </p:ext>
            </p:extLst>
          </p:nvPr>
        </p:nvGraphicFramePr>
        <p:xfrm>
          <a:off x="8610599" y="1386460"/>
          <a:ext cx="3219557" cy="1830891"/>
        </p:xfrm>
        <a:graphic>
          <a:graphicData uri="http://schemas.openxmlformats.org/drawingml/2006/table">
            <a:tbl>
              <a:tblPr/>
              <a:tblGrid>
                <a:gridCol w="32195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619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nb-NO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Referansegruppe</a:t>
                      </a:r>
                    </a:p>
                  </a:txBody>
                  <a:tcPr marL="90000" marR="90000" marT="46835" marB="46835" anchor="ctr" anchorCtr="1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6470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endParaRPr kumimoji="0" lang="nb-NO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endParaRPr kumimoji="0" lang="nb-NO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37EC7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endParaRPr kumimoji="0" lang="nb-NO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54" marB="45754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F0D3AF00-AC04-4E02-B5DD-3D71EF56F6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175" y="715079"/>
            <a:ext cx="3762481" cy="1077218"/>
          </a:xfrm>
        </p:spPr>
        <p:txBody>
          <a:bodyPr/>
          <a:lstStyle/>
          <a:p>
            <a:r>
              <a:rPr lang="nb-NO"/>
              <a:t>Prosjekt-organisasjonen</a:t>
            </a:r>
          </a:p>
        </p:txBody>
      </p:sp>
      <p:pic>
        <p:nvPicPr>
          <p:cNvPr id="3" name="Bilde 2">
            <a:extLst>
              <a:ext uri="{FF2B5EF4-FFF2-40B4-BE49-F238E27FC236}">
                <a16:creationId xmlns:a16="http://schemas.microsoft.com/office/drawing/2014/main" id="{BEB41BAC-3122-40CC-BC85-4BDEA8048D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0883" y="2136143"/>
            <a:ext cx="3313320" cy="2782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99397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308DD9E-1689-425F-BE98-2EEB217C66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Fremdrifts- og milepælsplan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61A5F8C2-3795-46B6-B9A5-BA9EFDF8184B}"/>
              </a:ext>
            </a:extLst>
          </p:cNvPr>
          <p:cNvSpPr>
            <a:spLocks noGrp="1"/>
          </p:cNvSpPr>
          <p:nvPr>
            <p:ph type="body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nb-NO"/>
              <a:t>Legg inn milepæler for fase- og leveransebeslutninger og øvrige milepæler, samt planlagte aktiviteter.</a:t>
            </a:r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06E9CD38-37D5-4B9C-8B3C-258B03290712}"/>
              </a:ext>
            </a:extLst>
          </p:cNvPr>
          <p:cNvSpPr/>
          <p:nvPr/>
        </p:nvSpPr>
        <p:spPr>
          <a:xfrm>
            <a:off x="10030408" y="144379"/>
            <a:ext cx="2009192" cy="1179596"/>
          </a:xfrm>
          <a:prstGeom prst="rect">
            <a:avLst/>
          </a:prstGeom>
          <a:ln>
            <a:solidFill>
              <a:schemeClr val="accent4">
                <a:lumMod val="50000"/>
              </a:schemeClr>
            </a:solidFill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200">
                <a:solidFill>
                  <a:srgbClr val="000000"/>
                </a:solidFill>
                <a:latin typeface="Georgia"/>
              </a:rPr>
              <a:t>Kopier fra fremdriftsplanen i Corporater</a:t>
            </a:r>
          </a:p>
        </p:txBody>
      </p:sp>
    </p:spTree>
    <p:extLst>
      <p:ext uri="{BB962C8B-B14F-4D97-AF65-F5344CB8AC3E}">
        <p14:creationId xmlns:p14="http://schemas.microsoft.com/office/powerpoint/2010/main" val="1016847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EBDEEE7-1CAA-4DDC-B6A0-D661FBE7A8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Prosjektstyring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9B678717-8306-4748-AF7C-EB85EE9B4714}"/>
              </a:ext>
            </a:extLst>
          </p:cNvPr>
          <p:cNvSpPr>
            <a:spLocks noGrp="1"/>
          </p:cNvSpPr>
          <p:nvPr>
            <p:ph type="body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nb-NO" sz="1800"/>
              <a:t>&lt;Beskriv hvordan prosjektet skal styres, herunder:</a:t>
            </a:r>
          </a:p>
          <a:p>
            <a:r>
              <a:rPr lang="nb-NO" sz="1800"/>
              <a:t>Frekvens for og når avholdes styringsgruppemøter</a:t>
            </a:r>
          </a:p>
          <a:p>
            <a:r>
              <a:rPr lang="nb-NO" sz="1800"/>
              <a:t>Organisering av evt. delprosjekter</a:t>
            </a:r>
          </a:p>
          <a:p>
            <a:r>
              <a:rPr lang="nb-NO" sz="1800"/>
              <a:t>Frekvens for og når avholdes prosjektgruppemøter</a:t>
            </a:r>
          </a:p>
          <a:p>
            <a:r>
              <a:rPr lang="nb-NO" sz="1800"/>
              <a:t>Involvering av evt. referansegruppe&gt;</a:t>
            </a:r>
          </a:p>
          <a:p>
            <a:endParaRPr lang="nb-NO" sz="1800"/>
          </a:p>
        </p:txBody>
      </p:sp>
    </p:spTree>
    <p:extLst>
      <p:ext uri="{BB962C8B-B14F-4D97-AF65-F5344CB8AC3E}">
        <p14:creationId xmlns:p14="http://schemas.microsoft.com/office/powerpoint/2010/main" val="14113752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24E3625-A27F-49E7-B87C-A926724901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Risiko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17601DC-AC21-4EA4-8441-402865A8FB30}"/>
              </a:ext>
            </a:extLst>
          </p:cNvPr>
          <p:cNvSpPr>
            <a:spLocks noGrp="1"/>
          </p:cNvSpPr>
          <p:nvPr>
            <p:ph type="body" idx="14"/>
          </p:nvPr>
        </p:nvSpPr>
        <p:spPr/>
        <p:txBody>
          <a:bodyPr/>
          <a:lstStyle/>
          <a:p>
            <a:r>
              <a:rPr lang="nb-NO"/>
              <a:t>&lt;Risikofaktorer som kan oppstå som forringer kvalitet, fremdrift, kostnad eller annet som påvirker gjennomføring av prosjektet&gt;</a:t>
            </a:r>
          </a:p>
          <a:p>
            <a:r>
              <a:rPr lang="nb-NO"/>
              <a:t>&lt;Risikomatrise&gt;</a:t>
            </a:r>
          </a:p>
          <a:p>
            <a:r>
              <a:rPr lang="nb-NO"/>
              <a:t>&lt;Risikoreduserende tiltak for risikofaktorer med høy og svært høy risiko&gt;</a:t>
            </a:r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0E9D5771-4DF8-488F-BCEA-48BC85A768C3}"/>
              </a:ext>
            </a:extLst>
          </p:cNvPr>
          <p:cNvSpPr/>
          <p:nvPr/>
        </p:nvSpPr>
        <p:spPr>
          <a:xfrm>
            <a:off x="10030408" y="144379"/>
            <a:ext cx="2009192" cy="1179596"/>
          </a:xfrm>
          <a:prstGeom prst="rect">
            <a:avLst/>
          </a:prstGeom>
          <a:ln>
            <a:solidFill>
              <a:schemeClr val="accent4">
                <a:lumMod val="50000"/>
              </a:schemeClr>
            </a:solidFill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Kopier fra risikofanen i Corporater</a:t>
            </a:r>
          </a:p>
        </p:txBody>
      </p:sp>
    </p:spTree>
    <p:extLst>
      <p:ext uri="{BB962C8B-B14F-4D97-AF65-F5344CB8AC3E}">
        <p14:creationId xmlns:p14="http://schemas.microsoft.com/office/powerpoint/2010/main" val="33805609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6BA2D1D-140D-45C8-A803-ECBBCEBB29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Rammebetingelser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8D3960BD-4909-4C9B-A600-1B71EB006FC2}"/>
              </a:ext>
            </a:extLst>
          </p:cNvPr>
          <p:cNvSpPr txBox="1">
            <a:spLocks/>
          </p:cNvSpPr>
          <p:nvPr/>
        </p:nvSpPr>
        <p:spPr>
          <a:xfrm>
            <a:off x="838201" y="2115773"/>
            <a:ext cx="10515600" cy="3997160"/>
          </a:xfrm>
          <a:prstGeom prst="rect">
            <a:avLst/>
          </a:prstGeom>
        </p:spPr>
        <p:txBody>
          <a:bodyPr>
            <a:normAutofit/>
          </a:bodyPr>
          <a:lstStyle>
            <a:lvl1pPr marL="284400" indent="-2844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8800" indent="-2844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3200" indent="-2844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7600" indent="-2844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2000" indent="-2844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1800"/>
              <a:t>&lt;Konklusjon og begrunnelse fra vurderingen av juridisk avdeling vedr. rammebetingelser. (Juridisk)&gt;</a:t>
            </a:r>
          </a:p>
          <a:p>
            <a:endParaRPr lang="nb-NO" sz="1800"/>
          </a:p>
          <a:p>
            <a:r>
              <a:rPr lang="nb-NO" sz="1800"/>
              <a:t>&lt;Konklusjon og begrunnelse fra vurdering vedr. informasjonssikkerhet og personvern. (Personvernombudet)&gt;</a:t>
            </a:r>
          </a:p>
          <a:p>
            <a:endParaRPr lang="nb-NO" sz="1800"/>
          </a:p>
          <a:p>
            <a:r>
              <a:rPr lang="nb-NO" sz="1800"/>
              <a:t>&lt;Konklusjon og begrunnelse fra evt. vurdering fra anskaffelser. (Anskaffelser)&gt;</a:t>
            </a:r>
          </a:p>
          <a:p>
            <a:endParaRPr lang="nb-NO" sz="1800"/>
          </a:p>
          <a:p>
            <a:r>
              <a:rPr lang="nb-NO" sz="1800"/>
              <a:t>&lt;Konklusjon og begrunnelse fra vurdering vedr. tilgjengelige midler og lønnsomheten i prosjektet. (</a:t>
            </a:r>
            <a:r>
              <a:rPr lang="nb-NO" sz="1800" err="1"/>
              <a:t>Prosjektcontroller</a:t>
            </a:r>
            <a:r>
              <a:rPr lang="nb-NO" sz="1800"/>
              <a:t>)&gt;</a:t>
            </a:r>
          </a:p>
          <a:p>
            <a:pPr marL="0" indent="0">
              <a:buNone/>
            </a:pPr>
            <a:endParaRPr lang="nb-NO" sz="1800"/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2E37CDB4-FECC-4259-9AD8-EB915DC49377}"/>
              </a:ext>
            </a:extLst>
          </p:cNvPr>
          <p:cNvSpPr/>
          <p:nvPr/>
        </p:nvSpPr>
        <p:spPr>
          <a:xfrm>
            <a:off x="9728093" y="144379"/>
            <a:ext cx="2286000" cy="1601363"/>
          </a:xfrm>
          <a:prstGeom prst="rect">
            <a:avLst/>
          </a:prstGeom>
          <a:ln>
            <a:solidFill>
              <a:schemeClr val="accent4">
                <a:lumMod val="50000"/>
              </a:schemeClr>
            </a:solidFill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200">
                <a:solidFill>
                  <a:schemeClr val="tx1"/>
                </a:solidFill>
              </a:rPr>
              <a:t>Kopier fra prosjektforslaget</a:t>
            </a:r>
          </a:p>
        </p:txBody>
      </p:sp>
    </p:spTree>
    <p:extLst>
      <p:ext uri="{BB962C8B-B14F-4D97-AF65-F5344CB8AC3E}">
        <p14:creationId xmlns:p14="http://schemas.microsoft.com/office/powerpoint/2010/main" val="14111069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2AB3649-584E-4294-81CB-67223AE08D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onsekvensutredning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2F84125B-1FE5-4D09-B84C-30A24F864BEA}"/>
              </a:ext>
            </a:extLst>
          </p:cNvPr>
          <p:cNvSpPr txBox="1">
            <a:spLocks/>
          </p:cNvSpPr>
          <p:nvPr/>
        </p:nvSpPr>
        <p:spPr>
          <a:xfrm>
            <a:off x="838201" y="2072640"/>
            <a:ext cx="10515600" cy="4040294"/>
          </a:xfrm>
          <a:prstGeom prst="rect">
            <a:avLst/>
          </a:prstGeom>
        </p:spPr>
        <p:txBody>
          <a:bodyPr>
            <a:normAutofit/>
          </a:bodyPr>
          <a:lstStyle>
            <a:lvl1pPr marL="284400" indent="-2844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8800" indent="-2844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3200" indent="-2844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7600" indent="-2844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2000" indent="-2844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4400" marR="0" lvl="0" indent="-2844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beskriv hvilke andre områder enn det som er adressert som prosjektet kan ha konsekvenser for&gt;</a:t>
            </a:r>
            <a:endParaRPr kumimoji="0" lang="nb-NO" sz="1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4400" marR="0" lvl="0" indent="-2844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</a:p>
          <a:p>
            <a:pPr marL="284400" marR="0" lvl="0" indent="-2844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</a:p>
          <a:p>
            <a:pPr marL="284400" marR="0" lvl="0" indent="-2844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</a:t>
            </a:r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A65AF783-5E26-4CD4-9706-7C78CA0FBF7D}"/>
              </a:ext>
            </a:extLst>
          </p:cNvPr>
          <p:cNvSpPr/>
          <p:nvPr/>
        </p:nvSpPr>
        <p:spPr>
          <a:xfrm>
            <a:off x="9610142" y="382694"/>
            <a:ext cx="2196782" cy="1340650"/>
          </a:xfrm>
          <a:prstGeom prst="rect">
            <a:avLst/>
          </a:prstGeom>
          <a:ln>
            <a:solidFill>
              <a:schemeClr val="accent4">
                <a:lumMod val="50000"/>
              </a:schemeClr>
            </a:solidFill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200">
                <a:solidFill>
                  <a:schemeClr val="tx1"/>
                </a:solidFill>
              </a:rPr>
              <a:t>Ta utgangspunkt i prosjektforslaget, med evt. oppdatering og detaljering</a:t>
            </a:r>
          </a:p>
        </p:txBody>
      </p:sp>
    </p:spTree>
    <p:extLst>
      <p:ext uri="{BB962C8B-B14F-4D97-AF65-F5344CB8AC3E}">
        <p14:creationId xmlns:p14="http://schemas.microsoft.com/office/powerpoint/2010/main" val="16291138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DC6B119-8170-4F65-9E98-A09C054A86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Rammer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854E001F-5BE6-456E-AFD7-FF5C5EE11656}"/>
              </a:ext>
            </a:extLst>
          </p:cNvPr>
          <p:cNvSpPr txBox="1">
            <a:spLocks/>
          </p:cNvSpPr>
          <p:nvPr/>
        </p:nvSpPr>
        <p:spPr>
          <a:xfrm>
            <a:off x="838201" y="1950720"/>
            <a:ext cx="10515600" cy="4070773"/>
          </a:xfrm>
          <a:prstGeom prst="rect">
            <a:avLst/>
          </a:prstGeom>
        </p:spPr>
        <p:txBody>
          <a:bodyPr>
            <a:noAutofit/>
          </a:bodyPr>
          <a:lstStyle>
            <a:lvl1pPr marL="284400" indent="-2844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8800" indent="-2844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3200" indent="-2844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7600" indent="-2844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2000" indent="-2844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4400" marR="0" lvl="0" indent="-2844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grensninger</a:t>
            </a: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beskriv hva prosjektet </a:t>
            </a:r>
            <a:r>
              <a:rPr kumimoji="0" lang="nb-NO" sz="1400" b="0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kke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kal levere&gt;</a:t>
            </a:r>
          </a:p>
          <a:p>
            <a:pPr marL="568800" marR="0" lvl="1" indent="-2844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</a:p>
          <a:p>
            <a:pPr marL="568800" marR="0" lvl="1" indent="-2844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</a:p>
          <a:p>
            <a:pPr marL="568800" marR="0" lvl="1" indent="-2844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</a:p>
          <a:p>
            <a:pPr marL="568800" marR="0" lvl="1" indent="-2844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  <a:endParaRPr kumimoji="0" lang="nb-NO" sz="1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4400" marR="0" lvl="0" indent="-2844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hengigheter</a:t>
            </a: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Interne og eksterne avhengigheter prosjektet har (for eksempel til andre prosjekter, interne og eksterne leveranser, tilgang til data, innkjøp. Dette er kjente avhengigheter (ikke usikkerheter) som prosjektet må ivareta/bygge inn </a:t>
            </a:r>
            <a:r>
              <a:rPr kumimoji="0" lang="nb-NO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fm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en videre planleggingen av prosjektet&gt;</a:t>
            </a:r>
          </a:p>
          <a:p>
            <a:pPr marL="568800" marR="0" lvl="1" indent="-2844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</a:p>
          <a:p>
            <a:pPr marL="568800" marR="0" lvl="1" indent="-2844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</a:p>
          <a:p>
            <a:pPr marL="568800" marR="0" lvl="1" indent="-2844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</a:p>
          <a:p>
            <a:pPr marL="284400" marR="0" lvl="0" indent="-2844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ktigste suksessfaktorer 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beskriv viktigste forutsetninger for en vellykket gjennomføring&gt;</a:t>
            </a:r>
          </a:p>
          <a:p>
            <a:pPr marL="568800" marR="0" lvl="1" indent="-2844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</a:p>
          <a:p>
            <a:pPr marL="568800" marR="0" lvl="1" indent="-2844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</a:p>
          <a:p>
            <a:pPr marL="568800" marR="0" lvl="1" indent="-2844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</a:p>
          <a:p>
            <a:pPr marL="284400" marR="0" lvl="0" indent="-2844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89376354-BF0E-4E88-B157-25C8A9981829}"/>
              </a:ext>
            </a:extLst>
          </p:cNvPr>
          <p:cNvSpPr/>
          <p:nvPr/>
        </p:nvSpPr>
        <p:spPr>
          <a:xfrm>
            <a:off x="9610142" y="382694"/>
            <a:ext cx="2196782" cy="1340650"/>
          </a:xfrm>
          <a:prstGeom prst="rect">
            <a:avLst/>
          </a:prstGeom>
          <a:ln>
            <a:solidFill>
              <a:schemeClr val="accent4">
                <a:lumMod val="50000"/>
              </a:schemeClr>
            </a:solidFill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200">
                <a:solidFill>
                  <a:schemeClr val="tx1"/>
                </a:solidFill>
              </a:rPr>
              <a:t>Ta utgangspunkt i prosjektforslaget, med evt. oppdatering og detaljering</a:t>
            </a:r>
          </a:p>
        </p:txBody>
      </p:sp>
    </p:spTree>
    <p:extLst>
      <p:ext uri="{BB962C8B-B14F-4D97-AF65-F5344CB8AC3E}">
        <p14:creationId xmlns:p14="http://schemas.microsoft.com/office/powerpoint/2010/main" val="351952796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51D51AF-2FE3-4BF8-99A5-59DEDF1FCA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Ledergruppens </a:t>
            </a:r>
            <a:r>
              <a:rPr lang="nb-NO" err="1"/>
              <a:t>fullmaktsramme</a:t>
            </a:r>
            <a:r>
              <a:rPr lang="nb-NO"/>
              <a:t> for styringsgruppen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1820DA50-EE78-43D5-961B-AEFA4D6624A2}"/>
              </a:ext>
            </a:extLst>
          </p:cNvPr>
          <p:cNvSpPr txBox="1">
            <a:spLocks/>
          </p:cNvSpPr>
          <p:nvPr/>
        </p:nvSpPr>
        <p:spPr>
          <a:xfrm>
            <a:off x="838200" y="1778000"/>
            <a:ext cx="10647783" cy="4334934"/>
          </a:xfrm>
          <a:prstGeom prst="rect">
            <a:avLst/>
          </a:prstGeom>
        </p:spPr>
        <p:txBody>
          <a:bodyPr>
            <a:noAutofit/>
          </a:bodyPr>
          <a:lstStyle>
            <a:lvl1pPr marL="284400" indent="-2844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8800" indent="-2844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3200" indent="-2844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7600" indent="-2844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2000" indent="-2844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4400" marR="0" lvl="0" indent="-2844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dergruppen gir prosjektets styringsgruppe ved Prosjekteier mandat til å styre prosjektet så lenge prognoser for totalprosjektet er innenfor følgende rammer</a:t>
            </a: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568800" marR="0" lvl="1" indent="-2844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d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&lt;beskrive ramme for tid, eks «I henhold til fremdriftsplan» eller «</a:t>
            </a:r>
            <a:r>
              <a:rPr kumimoji="0" lang="nb-NO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ntil 3 måneder forsinkelse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» eller </a:t>
            </a:r>
            <a:r>
              <a:rPr kumimoji="0" lang="nb-NO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«Maksimalt 30% forsinkelse»&gt;</a:t>
            </a:r>
          </a:p>
          <a:p>
            <a:pPr marL="568800" marR="0" lvl="1" indent="-2844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Økonomi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&lt;beskriv ramme for økonomi, eks. «</a:t>
            </a:r>
            <a:r>
              <a:rPr kumimoji="0" lang="nb-NO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ksterne kostnader maksimalt 10% over opprinnelig budsjett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» eller «</a:t>
            </a:r>
            <a:r>
              <a:rPr kumimoji="0" lang="nb-NO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ksterne kostnader innenfor opprinnelig budsjett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» &gt;</a:t>
            </a:r>
          </a:p>
          <a:p>
            <a:pPr marL="568800" marR="0" lvl="1" indent="-2844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isiko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&lt;beskriv ramme for risiko, eks. «</a:t>
            </a:r>
            <a:r>
              <a:rPr kumimoji="0" lang="nb-NO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r enn 6 risikoer med risikoverdi 8 eller høyere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» eller «</a:t>
            </a:r>
            <a:r>
              <a:rPr kumimoji="0" lang="nb-NO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r enn 10 risikoer med risikoverdi 12 eller høyere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» eller «</a:t>
            </a:r>
            <a:r>
              <a:rPr kumimoji="0" lang="nb-NO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gen ramme (Styringsgruppe styrer prosjektet uavhengig av status på risiko)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»&gt;</a:t>
            </a:r>
          </a:p>
          <a:p>
            <a:pPr marL="568800" marR="0" lvl="1" indent="-2844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mfang/leveranser: 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beskrive ramme for omfang/leveranser, eks. «I henhold til omfang og leveranser», eller «Ingen vesentlige avvik/justeringer ift. omfang/leveranser» eller «</a:t>
            </a:r>
            <a:r>
              <a:rPr kumimoji="0" lang="nb-NO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gen ramme, styringsgruppe styrer prosjektet uavhengig av avvik eller justeringer på omfang/leveranser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»</a:t>
            </a:r>
          </a:p>
          <a:p>
            <a:pPr marL="284400" marR="0" lvl="0" indent="-2844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sjekteier skal løfte til Ledergruppe hvis prognose tilsier at totalprosjektet vil gå utover rammene ovenfo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nb-NO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3EA9DDA1-C61F-4B62-A985-84AD4F8F9569}"/>
              </a:ext>
            </a:extLst>
          </p:cNvPr>
          <p:cNvSpPr/>
          <p:nvPr/>
        </p:nvSpPr>
        <p:spPr>
          <a:xfrm>
            <a:off x="9351034" y="382694"/>
            <a:ext cx="2455890" cy="652476"/>
          </a:xfrm>
          <a:prstGeom prst="rect">
            <a:avLst/>
          </a:prstGeom>
          <a:ln>
            <a:solidFill>
              <a:schemeClr val="accent4">
                <a:lumMod val="50000"/>
              </a:schemeClr>
            </a:solidFill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200">
                <a:solidFill>
                  <a:schemeClr val="tx1"/>
                </a:solidFill>
              </a:rPr>
              <a:t>Ta utgangspunkt i prosjektforslaget, med evt. oppdatering etter LG-beslutning</a:t>
            </a:r>
          </a:p>
        </p:txBody>
      </p:sp>
    </p:spTree>
    <p:extLst>
      <p:ext uri="{BB962C8B-B14F-4D97-AF65-F5344CB8AC3E}">
        <p14:creationId xmlns:p14="http://schemas.microsoft.com/office/powerpoint/2010/main" val="275807966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0B22C38-9FAC-4630-A2E9-04697C58A4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Vedlegg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081ED168-7AD0-4748-9FBE-0731F7D62ABE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838200" y="1944688"/>
            <a:ext cx="10515600" cy="4291012"/>
          </a:xfrm>
        </p:spPr>
        <p:txBody>
          <a:bodyPr>
            <a:normAutofit/>
          </a:bodyPr>
          <a:lstStyle/>
          <a:p>
            <a:r>
              <a:rPr lang="nb-NO" sz="1800"/>
              <a:t>Oppdatert gevinstrealiseringsplan og business case</a:t>
            </a:r>
          </a:p>
          <a:p>
            <a:r>
              <a:rPr lang="nb-NO" sz="1800"/>
              <a:t>Avhengig av prosjektets størrelse bør det også vurderes å inkludere en kommunikasjonsplan</a:t>
            </a:r>
          </a:p>
        </p:txBody>
      </p:sp>
    </p:spTree>
    <p:extLst>
      <p:ext uri="{BB962C8B-B14F-4D97-AF65-F5344CB8AC3E}">
        <p14:creationId xmlns:p14="http://schemas.microsoft.com/office/powerpoint/2010/main" val="9096844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CA7F309-3164-441A-ACE4-3751615B6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Versjonshistorikk</a:t>
            </a:r>
          </a:p>
        </p:txBody>
      </p:sp>
      <p:graphicFrame>
        <p:nvGraphicFramePr>
          <p:cNvPr id="4" name="Tabell 3">
            <a:extLst>
              <a:ext uri="{FF2B5EF4-FFF2-40B4-BE49-F238E27FC236}">
                <a16:creationId xmlns:a16="http://schemas.microsoft.com/office/drawing/2014/main" id="{51B96973-5E48-4660-847B-88B3EC94F2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7693015"/>
              </p:ext>
            </p:extLst>
          </p:nvPr>
        </p:nvGraphicFramePr>
        <p:xfrm>
          <a:off x="838200" y="2039787"/>
          <a:ext cx="10515600" cy="31322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48360">
                  <a:extLst>
                    <a:ext uri="{9D8B030D-6E8A-4147-A177-3AD203B41FA5}">
                      <a16:colId xmlns:a16="http://schemas.microsoft.com/office/drawing/2014/main" val="2804098867"/>
                    </a:ext>
                  </a:extLst>
                </a:gridCol>
                <a:gridCol w="995680">
                  <a:extLst>
                    <a:ext uri="{9D8B030D-6E8A-4147-A177-3AD203B41FA5}">
                      <a16:colId xmlns:a16="http://schemas.microsoft.com/office/drawing/2014/main" val="3346454606"/>
                    </a:ext>
                  </a:extLst>
                </a:gridCol>
                <a:gridCol w="4625416">
                  <a:extLst>
                    <a:ext uri="{9D8B030D-6E8A-4147-A177-3AD203B41FA5}">
                      <a16:colId xmlns:a16="http://schemas.microsoft.com/office/drawing/2014/main" val="3433866725"/>
                    </a:ext>
                  </a:extLst>
                </a:gridCol>
                <a:gridCol w="2093540">
                  <a:extLst>
                    <a:ext uri="{9D8B030D-6E8A-4147-A177-3AD203B41FA5}">
                      <a16:colId xmlns:a16="http://schemas.microsoft.com/office/drawing/2014/main" val="2656222219"/>
                    </a:ext>
                  </a:extLst>
                </a:gridCol>
                <a:gridCol w="1952604">
                  <a:extLst>
                    <a:ext uri="{9D8B030D-6E8A-4147-A177-3AD203B41FA5}">
                      <a16:colId xmlns:a16="http://schemas.microsoft.com/office/drawing/2014/main" val="966246690"/>
                    </a:ext>
                  </a:extLst>
                </a:gridCol>
              </a:tblGrid>
              <a:tr h="252193">
                <a:tc>
                  <a:txBody>
                    <a:bodyPr/>
                    <a:lstStyle/>
                    <a:p>
                      <a:r>
                        <a:rPr lang="nb-NO" sz="1400"/>
                        <a:t>Versjon</a:t>
                      </a:r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nb-NO" sz="1400"/>
                        <a:t>Dato</a:t>
                      </a:r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nb-NO" sz="1400"/>
                        <a:t>Endring</a:t>
                      </a:r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nb-NO" sz="1400"/>
                        <a:t>Utarbeidet av</a:t>
                      </a:r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nb-NO" sz="1400"/>
                        <a:t>Godkjent</a:t>
                      </a:r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7958705"/>
                  </a:ext>
                </a:extLst>
              </a:tr>
              <a:tr h="353429">
                <a:tc>
                  <a:txBody>
                    <a:bodyPr/>
                    <a:lstStyle/>
                    <a:p>
                      <a:endParaRPr lang="nb-NO" sz="1200" b="0" i="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998077"/>
                  </a:ext>
                </a:extLst>
              </a:tr>
              <a:tr h="353429"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3476073"/>
                  </a:ext>
                </a:extLst>
              </a:tr>
              <a:tr h="353429"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174483"/>
                  </a:ext>
                </a:extLst>
              </a:tr>
              <a:tr h="353429"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6926578"/>
                  </a:ext>
                </a:extLst>
              </a:tr>
              <a:tr h="353429"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844789"/>
                  </a:ext>
                </a:extLst>
              </a:tr>
              <a:tr h="353429"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5507355"/>
                  </a:ext>
                </a:extLst>
              </a:tr>
              <a:tr h="353429"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8566318"/>
                  </a:ext>
                </a:extLst>
              </a:tr>
              <a:tr h="353429"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58535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387526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B9903A-ECF1-4BAE-B5C5-30D2E94459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Bakgrunn og formål</a:t>
            </a:r>
          </a:p>
        </p:txBody>
      </p:sp>
      <p:sp>
        <p:nvSpPr>
          <p:cNvPr id="5" name="Likebent trekant 4">
            <a:extLst>
              <a:ext uri="{FF2B5EF4-FFF2-40B4-BE49-F238E27FC236}">
                <a16:creationId xmlns:a16="http://schemas.microsoft.com/office/drawing/2014/main" id="{32214DF9-96C8-40A3-8A8A-8D1080E96645}"/>
              </a:ext>
            </a:extLst>
          </p:cNvPr>
          <p:cNvSpPr/>
          <p:nvPr/>
        </p:nvSpPr>
        <p:spPr>
          <a:xfrm rot="5400000">
            <a:off x="5613279" y="3373764"/>
            <a:ext cx="1075914" cy="110473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/>
              <a:ea typeface="+mn-ea"/>
              <a:cs typeface="+mn-cs"/>
            </a:endParaRP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F6195BE6-8312-4A85-9839-B043FCD61F95}"/>
              </a:ext>
            </a:extLst>
          </p:cNvPr>
          <p:cNvSpPr txBox="1"/>
          <p:nvPr/>
        </p:nvSpPr>
        <p:spPr>
          <a:xfrm>
            <a:off x="1075093" y="2055730"/>
            <a:ext cx="41065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BAKGRUNN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17FE21A9-085A-43A3-8B16-FE79C485E364}"/>
              </a:ext>
            </a:extLst>
          </p:cNvPr>
          <p:cNvSpPr txBox="1"/>
          <p:nvPr/>
        </p:nvSpPr>
        <p:spPr>
          <a:xfrm>
            <a:off x="6956169" y="2055730"/>
            <a:ext cx="41065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FORMÅL</a:t>
            </a:r>
          </a:p>
        </p:txBody>
      </p:sp>
      <p:cxnSp>
        <p:nvCxnSpPr>
          <p:cNvPr id="10" name="Rett linje 9">
            <a:extLst>
              <a:ext uri="{FF2B5EF4-FFF2-40B4-BE49-F238E27FC236}">
                <a16:creationId xmlns:a16="http://schemas.microsoft.com/office/drawing/2014/main" id="{6926A7B8-7840-49DB-BE2E-9E56ECC4C6DC}"/>
              </a:ext>
            </a:extLst>
          </p:cNvPr>
          <p:cNvCxnSpPr>
            <a:cxnSpLocks/>
          </p:cNvCxnSpPr>
          <p:nvPr/>
        </p:nvCxnSpPr>
        <p:spPr>
          <a:xfrm>
            <a:off x="1075093" y="2465638"/>
            <a:ext cx="410659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Rett linje 10">
            <a:extLst>
              <a:ext uri="{FF2B5EF4-FFF2-40B4-BE49-F238E27FC236}">
                <a16:creationId xmlns:a16="http://schemas.microsoft.com/office/drawing/2014/main" id="{ED835BEA-BFF0-4DE2-8243-D027F3D47CFB}"/>
              </a:ext>
            </a:extLst>
          </p:cNvPr>
          <p:cNvCxnSpPr>
            <a:cxnSpLocks/>
          </p:cNvCxnSpPr>
          <p:nvPr/>
        </p:nvCxnSpPr>
        <p:spPr>
          <a:xfrm>
            <a:off x="6956169" y="2475802"/>
            <a:ext cx="410659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ACC01216-2BDE-4E66-B270-7CA948F8A4BA}"/>
              </a:ext>
            </a:extLst>
          </p:cNvPr>
          <p:cNvSpPr txBox="1"/>
          <p:nvPr/>
        </p:nvSpPr>
        <p:spPr>
          <a:xfrm>
            <a:off x="838200" y="2539133"/>
            <a:ext cx="4535997" cy="249299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200" dirty="0">
                <a:solidFill>
                  <a:srgbClr val="000000"/>
                </a:solidFill>
                <a:cs typeface="Calibri" panose="020F0502020204030204" pitchFamily="34" charset="0"/>
              </a:rPr>
              <a:t>&lt;Beskriv nå-situasjonen og hvilke behov eller problemer prosjektet skal løse,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200" dirty="0">
                <a:solidFill>
                  <a:srgbClr val="000000"/>
                </a:solidFill>
                <a:cs typeface="Calibri" panose="020F0502020204030204" pitchFamily="34" charset="0"/>
              </a:rPr>
              <a:t>Beskriv situasjonen hvis prosjektet ikke gjennomføres&gt;</a:t>
            </a:r>
            <a:endParaRPr kumimoji="0" lang="nb-NO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Calibri" panose="020F0502020204030204" pitchFamily="34" charset="0"/>
            </a:endParaRPr>
          </a:p>
        </p:txBody>
      </p:sp>
      <p:sp>
        <p:nvSpPr>
          <p:cNvPr id="15" name="TekstSylinder 14">
            <a:extLst>
              <a:ext uri="{FF2B5EF4-FFF2-40B4-BE49-F238E27FC236}">
                <a16:creationId xmlns:a16="http://schemas.microsoft.com/office/drawing/2014/main" id="{FE4CA70E-BF2C-4C82-8C3D-BD5CC0271518}"/>
              </a:ext>
            </a:extLst>
          </p:cNvPr>
          <p:cNvSpPr txBox="1"/>
          <p:nvPr/>
        </p:nvSpPr>
        <p:spPr>
          <a:xfrm>
            <a:off x="6817804" y="2549297"/>
            <a:ext cx="4656441" cy="163217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200">
                <a:solidFill>
                  <a:srgbClr val="000000"/>
                </a:solidFill>
              </a:rPr>
              <a:t>&lt;</a:t>
            </a: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Beskriv ønsket frem</a:t>
            </a:r>
            <a:r>
              <a:rPr lang="nb-NO" sz="1200">
                <a:solidFill>
                  <a:srgbClr val="000000"/>
                </a:solidFill>
              </a:rPr>
              <a:t>tidig situasjon – hva prosjektet vil føre til</a:t>
            </a: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200">
                <a:solidFill>
                  <a:srgbClr val="000000"/>
                </a:solidFill>
              </a:rPr>
              <a:t>Beskriv sammenhengen mellom prosjektet og </a:t>
            </a:r>
            <a:r>
              <a:rPr lang="nb-NO" sz="1200" err="1">
                <a:solidFill>
                  <a:srgbClr val="000000"/>
                </a:solidFill>
              </a:rPr>
              <a:t>VMPs</a:t>
            </a:r>
            <a:r>
              <a:rPr lang="nb-NO" sz="1200">
                <a:solidFill>
                  <a:srgbClr val="000000"/>
                </a:solidFill>
              </a:rPr>
              <a:t> strategi og mål&gt;</a:t>
            </a: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6A3F168C-3D62-4755-B793-E3309AAE2DCC}"/>
              </a:ext>
            </a:extLst>
          </p:cNvPr>
          <p:cNvSpPr/>
          <p:nvPr/>
        </p:nvSpPr>
        <p:spPr>
          <a:xfrm>
            <a:off x="9728093" y="144379"/>
            <a:ext cx="2286000" cy="1601363"/>
          </a:xfrm>
          <a:prstGeom prst="rect">
            <a:avLst/>
          </a:prstGeom>
          <a:ln>
            <a:solidFill>
              <a:schemeClr val="accent4">
                <a:lumMod val="50000"/>
              </a:schemeClr>
            </a:solidFill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200">
                <a:solidFill>
                  <a:schemeClr val="tx1"/>
                </a:solidFill>
              </a:rPr>
              <a:t>Fra prosjektforslaget.</a:t>
            </a:r>
          </a:p>
        </p:txBody>
      </p:sp>
    </p:spTree>
    <p:extLst>
      <p:ext uri="{BB962C8B-B14F-4D97-AF65-F5344CB8AC3E}">
        <p14:creationId xmlns:p14="http://schemas.microsoft.com/office/powerpoint/2010/main" val="112623506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9252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logo_">
            <a:extLst>
              <a:ext uri="{FF2B5EF4-FFF2-40B4-BE49-F238E27FC236}">
                <a16:creationId xmlns:a16="http://schemas.microsoft.com/office/drawing/2014/main" id="{84E5B3BD-F532-4680-A45C-3D6D1EA9669D}"/>
              </a:ext>
            </a:extLst>
          </p:cNvPr>
          <p:cNvGrpSpPr/>
          <p:nvPr/>
        </p:nvGrpSpPr>
        <p:grpSpPr>
          <a:xfrm>
            <a:off x="4159165" y="1400047"/>
            <a:ext cx="3873500" cy="3554038"/>
            <a:chOff x="4159165" y="1400047"/>
            <a:chExt cx="3873500" cy="3554038"/>
          </a:xfrm>
        </p:grpSpPr>
        <p:sp>
          <p:nvSpPr>
            <p:cNvPr id="7" name="Rektangel 16">
              <a:extLst>
                <a:ext uri="{FF2B5EF4-FFF2-40B4-BE49-F238E27FC236}">
                  <a16:creationId xmlns:a16="http://schemas.microsoft.com/office/drawing/2014/main" id="{47F5B330-9F11-472F-A473-87979ED0BAB7}"/>
                </a:ext>
              </a:extLst>
            </p:cNvPr>
            <p:cNvSpPr/>
            <p:nvPr userDrawn="1"/>
          </p:nvSpPr>
          <p:spPr>
            <a:xfrm>
              <a:off x="4159165" y="1400047"/>
              <a:ext cx="3873500" cy="3554038"/>
            </a:xfrm>
            <a:prstGeom prst="rect">
              <a:avLst/>
            </a:prstGeom>
            <a:solidFill>
              <a:srgbClr val="0925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8" name="Bilde 20">
              <a:extLst>
                <a:ext uri="{FF2B5EF4-FFF2-40B4-BE49-F238E27FC236}">
                  <a16:creationId xmlns:a16="http://schemas.microsoft.com/office/drawing/2014/main" id="{D13A50C4-E677-4787-AC2B-47D3654702B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4457822" y="1647136"/>
              <a:ext cx="3288892" cy="3240167"/>
            </a:xfrm>
            <a:prstGeom prst="rect">
              <a:avLst/>
            </a:prstGeom>
          </p:spPr>
        </p:pic>
      </p:grpSp>
      <p:pic>
        <p:nvPicPr>
          <p:cNvPr id="13" name="logo_" descr="A picture containing drawing&#10;&#10;Description automatically generated">
            <a:extLst>
              <a:ext uri="{FF2B5EF4-FFF2-40B4-BE49-F238E27FC236}">
                <a16:creationId xmlns:a16="http://schemas.microsoft.com/office/drawing/2014/main" id="{24670FF0-5121-465A-B697-9FC7123FB45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6980" y="6057288"/>
            <a:ext cx="2377913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25603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4">
            <a:extLst>
              <a:ext uri="{FF2B5EF4-FFF2-40B4-BE49-F238E27FC236}">
                <a16:creationId xmlns:a16="http://schemas.microsoft.com/office/drawing/2014/main" id="{BD4EB760-C165-4FDA-B527-88810B3DA7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Hva skal prosjektet levere</a:t>
            </a:r>
          </a:p>
        </p:txBody>
      </p:sp>
      <p:graphicFrame>
        <p:nvGraphicFramePr>
          <p:cNvPr id="6" name="Tabell 5">
            <a:extLst>
              <a:ext uri="{FF2B5EF4-FFF2-40B4-BE49-F238E27FC236}">
                <a16:creationId xmlns:a16="http://schemas.microsoft.com/office/drawing/2014/main" id="{3EEB542A-E95B-42A4-A616-ACB1D7B1C4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8700804"/>
              </p:ext>
            </p:extLst>
          </p:nvPr>
        </p:nvGraphicFramePr>
        <p:xfrm>
          <a:off x="838200" y="2128252"/>
          <a:ext cx="10515600" cy="175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9309">
                  <a:extLst>
                    <a:ext uri="{9D8B030D-6E8A-4147-A177-3AD203B41FA5}">
                      <a16:colId xmlns:a16="http://schemas.microsoft.com/office/drawing/2014/main" val="4245569487"/>
                    </a:ext>
                  </a:extLst>
                </a:gridCol>
                <a:gridCol w="3254698">
                  <a:extLst>
                    <a:ext uri="{9D8B030D-6E8A-4147-A177-3AD203B41FA5}">
                      <a16:colId xmlns:a16="http://schemas.microsoft.com/office/drawing/2014/main" val="2804098867"/>
                    </a:ext>
                  </a:extLst>
                </a:gridCol>
                <a:gridCol w="6831593">
                  <a:extLst>
                    <a:ext uri="{9D8B030D-6E8A-4147-A177-3AD203B41FA5}">
                      <a16:colId xmlns:a16="http://schemas.microsoft.com/office/drawing/2014/main" val="343386672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nb-NO" sz="1400"/>
                        <a:t>#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nb-NO" sz="1400"/>
                        <a:t>Hovedprodukter/leveranser</a:t>
                      </a:r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nb-NO" sz="1400"/>
                        <a:t>Beskrivelse</a:t>
                      </a:r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79587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nb-NO" sz="1200"/>
                        <a:t>1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20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vilke hovedelementer skal leveres av prosjektet (organisatoriske, tekniske, prosess, informasjon </a:t>
                      </a:r>
                      <a:r>
                        <a:rPr lang="nb-NO" sz="120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tc</a:t>
                      </a:r>
                      <a:r>
                        <a:rPr lang="nb-NO" sz="120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skriv og detaljer hovedelementene</a:t>
                      </a:r>
                      <a:endParaRPr lang="nb-NO" sz="1200"/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9980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nb-NO" sz="1200"/>
                        <a:t>2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34760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nb-NO" sz="1200"/>
                        <a:t>3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174483"/>
                  </a:ext>
                </a:extLst>
              </a:tr>
            </a:tbl>
          </a:graphicData>
        </a:graphic>
      </p:graphicFrame>
      <p:sp>
        <p:nvSpPr>
          <p:cNvPr id="7" name="Rektangel 6">
            <a:extLst>
              <a:ext uri="{FF2B5EF4-FFF2-40B4-BE49-F238E27FC236}">
                <a16:creationId xmlns:a16="http://schemas.microsoft.com/office/drawing/2014/main" id="{8574F503-8A44-4316-9AAC-7DE961B1AD73}"/>
              </a:ext>
            </a:extLst>
          </p:cNvPr>
          <p:cNvSpPr/>
          <p:nvPr/>
        </p:nvSpPr>
        <p:spPr>
          <a:xfrm>
            <a:off x="9728093" y="144379"/>
            <a:ext cx="2286000" cy="1601363"/>
          </a:xfrm>
          <a:prstGeom prst="rect">
            <a:avLst/>
          </a:prstGeom>
          <a:ln>
            <a:solidFill>
              <a:schemeClr val="accent4">
                <a:lumMod val="50000"/>
              </a:schemeClr>
            </a:solidFill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200">
                <a:solidFill>
                  <a:schemeClr val="tx1"/>
                </a:solidFill>
              </a:rPr>
              <a:t>Fra prosjektforslaget, med evt. oppdateringer</a:t>
            </a:r>
          </a:p>
        </p:txBody>
      </p:sp>
    </p:spTree>
    <p:extLst>
      <p:ext uri="{BB962C8B-B14F-4D97-AF65-F5344CB8AC3E}">
        <p14:creationId xmlns:p14="http://schemas.microsoft.com/office/powerpoint/2010/main" val="4762363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224CBF8-5789-44AC-AF74-B6B68A1B74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Beskrivelse av leveransene</a:t>
            </a:r>
          </a:p>
        </p:txBody>
      </p:sp>
      <p:graphicFrame>
        <p:nvGraphicFramePr>
          <p:cNvPr id="4" name="Tabell 3">
            <a:extLst>
              <a:ext uri="{FF2B5EF4-FFF2-40B4-BE49-F238E27FC236}">
                <a16:creationId xmlns:a16="http://schemas.microsoft.com/office/drawing/2014/main" id="{5ADE2664-2411-4FE2-9E70-981238B878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2177144"/>
              </p:ext>
            </p:extLst>
          </p:nvPr>
        </p:nvGraphicFramePr>
        <p:xfrm>
          <a:off x="2617133" y="1745742"/>
          <a:ext cx="8775241" cy="12451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31642">
                  <a:extLst>
                    <a:ext uri="{9D8B030D-6E8A-4147-A177-3AD203B41FA5}">
                      <a16:colId xmlns:a16="http://schemas.microsoft.com/office/drawing/2014/main" val="2804098867"/>
                    </a:ext>
                  </a:extLst>
                </a:gridCol>
                <a:gridCol w="5943599">
                  <a:extLst>
                    <a:ext uri="{9D8B030D-6E8A-4147-A177-3AD203B41FA5}">
                      <a16:colId xmlns:a16="http://schemas.microsoft.com/office/drawing/2014/main" val="3433866725"/>
                    </a:ext>
                  </a:extLst>
                </a:gridCol>
              </a:tblGrid>
              <a:tr h="311277">
                <a:tc>
                  <a:txBody>
                    <a:bodyPr/>
                    <a:lstStyle/>
                    <a:p>
                      <a:r>
                        <a:rPr lang="nb-NO" sz="1400"/>
                        <a:t>Produkt</a:t>
                      </a:r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nb-NO" sz="1400"/>
                        <a:t>Innhold</a:t>
                      </a:r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7958705"/>
                  </a:ext>
                </a:extLst>
              </a:tr>
              <a:tr h="311277">
                <a:tc>
                  <a:txBody>
                    <a:bodyPr/>
                    <a:lstStyle/>
                    <a:p>
                      <a:r>
                        <a:rPr lang="nb-NO" sz="120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998077"/>
                  </a:ext>
                </a:extLst>
              </a:tr>
              <a:tr h="311277">
                <a:tc>
                  <a:txBody>
                    <a:bodyPr/>
                    <a:lstStyle/>
                    <a:p>
                      <a:r>
                        <a:rPr lang="nb-NO" sz="1200"/>
                        <a:t>B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3476073"/>
                  </a:ext>
                </a:extLst>
              </a:tr>
              <a:tr h="311277">
                <a:tc>
                  <a:txBody>
                    <a:bodyPr/>
                    <a:lstStyle/>
                    <a:p>
                      <a:r>
                        <a:rPr lang="nb-NO" sz="1200"/>
                        <a:t>C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174483"/>
                  </a:ext>
                </a:extLst>
              </a:tr>
            </a:tbl>
          </a:graphicData>
        </a:graphic>
      </p:graphicFrame>
      <p:sp>
        <p:nvSpPr>
          <p:cNvPr id="5" name="TekstSylinder 4">
            <a:extLst>
              <a:ext uri="{FF2B5EF4-FFF2-40B4-BE49-F238E27FC236}">
                <a16:creationId xmlns:a16="http://schemas.microsoft.com/office/drawing/2014/main" id="{338DFAE7-5D53-4423-AA40-2D1519508A6E}"/>
              </a:ext>
            </a:extLst>
          </p:cNvPr>
          <p:cNvSpPr txBox="1"/>
          <p:nvPr/>
        </p:nvSpPr>
        <p:spPr>
          <a:xfrm>
            <a:off x="799626" y="2256542"/>
            <a:ext cx="20374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nb-NO" sz="1600" b="1"/>
              <a:t>Hovedprodukt 1</a:t>
            </a: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CE2D77C2-D539-4331-9CC7-E8795AA2D2FC}"/>
              </a:ext>
            </a:extLst>
          </p:cNvPr>
          <p:cNvSpPr txBox="1"/>
          <p:nvPr/>
        </p:nvSpPr>
        <p:spPr>
          <a:xfrm>
            <a:off x="799626" y="4130789"/>
            <a:ext cx="20374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nb-NO" sz="1600" b="1"/>
              <a:t>Hovedprodukt 2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72C65234-2792-48CA-8156-AA1D7BD9335F}"/>
              </a:ext>
            </a:extLst>
          </p:cNvPr>
          <p:cNvSpPr txBox="1"/>
          <p:nvPr/>
        </p:nvSpPr>
        <p:spPr>
          <a:xfrm>
            <a:off x="799626" y="6005036"/>
            <a:ext cx="20374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nb-NO" sz="1600" b="1"/>
              <a:t>Hovedprodukt 3</a:t>
            </a:r>
          </a:p>
        </p:txBody>
      </p:sp>
      <p:graphicFrame>
        <p:nvGraphicFramePr>
          <p:cNvPr id="8" name="Tabell 7">
            <a:extLst>
              <a:ext uri="{FF2B5EF4-FFF2-40B4-BE49-F238E27FC236}">
                <a16:creationId xmlns:a16="http://schemas.microsoft.com/office/drawing/2014/main" id="{45443031-D9F7-4456-9458-1FBDD3C946E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970145"/>
              </p:ext>
            </p:extLst>
          </p:nvPr>
        </p:nvGraphicFramePr>
        <p:xfrm>
          <a:off x="2617132" y="3620617"/>
          <a:ext cx="8775241" cy="12451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31642">
                  <a:extLst>
                    <a:ext uri="{9D8B030D-6E8A-4147-A177-3AD203B41FA5}">
                      <a16:colId xmlns:a16="http://schemas.microsoft.com/office/drawing/2014/main" val="2804098867"/>
                    </a:ext>
                  </a:extLst>
                </a:gridCol>
                <a:gridCol w="5943599">
                  <a:extLst>
                    <a:ext uri="{9D8B030D-6E8A-4147-A177-3AD203B41FA5}">
                      <a16:colId xmlns:a16="http://schemas.microsoft.com/office/drawing/2014/main" val="3433866725"/>
                    </a:ext>
                  </a:extLst>
                </a:gridCol>
              </a:tblGrid>
              <a:tr h="311277">
                <a:tc>
                  <a:txBody>
                    <a:bodyPr/>
                    <a:lstStyle/>
                    <a:p>
                      <a:r>
                        <a:rPr lang="nb-NO" sz="1400"/>
                        <a:t>Produkt</a:t>
                      </a:r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nb-NO" sz="1400"/>
                        <a:t>Innhold</a:t>
                      </a:r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7958705"/>
                  </a:ext>
                </a:extLst>
              </a:tr>
              <a:tr h="311277">
                <a:tc>
                  <a:txBody>
                    <a:bodyPr/>
                    <a:lstStyle/>
                    <a:p>
                      <a:r>
                        <a:rPr lang="nb-NO" sz="120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998077"/>
                  </a:ext>
                </a:extLst>
              </a:tr>
              <a:tr h="311277">
                <a:tc>
                  <a:txBody>
                    <a:bodyPr/>
                    <a:lstStyle/>
                    <a:p>
                      <a:r>
                        <a:rPr lang="nb-NO" sz="1200"/>
                        <a:t>B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3476073"/>
                  </a:ext>
                </a:extLst>
              </a:tr>
              <a:tr h="311277">
                <a:tc>
                  <a:txBody>
                    <a:bodyPr/>
                    <a:lstStyle/>
                    <a:p>
                      <a:r>
                        <a:rPr lang="nb-NO" sz="1200"/>
                        <a:t>C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174483"/>
                  </a:ext>
                </a:extLst>
              </a:tr>
            </a:tbl>
          </a:graphicData>
        </a:graphic>
      </p:graphicFrame>
      <p:graphicFrame>
        <p:nvGraphicFramePr>
          <p:cNvPr id="9" name="Tabell 8">
            <a:extLst>
              <a:ext uri="{FF2B5EF4-FFF2-40B4-BE49-F238E27FC236}">
                <a16:creationId xmlns:a16="http://schemas.microsoft.com/office/drawing/2014/main" id="{6ACDA645-EDF2-4802-B3C0-2B9E8D1803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8030595"/>
              </p:ext>
            </p:extLst>
          </p:nvPr>
        </p:nvGraphicFramePr>
        <p:xfrm>
          <a:off x="2617132" y="5495492"/>
          <a:ext cx="8775241" cy="12451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31642">
                  <a:extLst>
                    <a:ext uri="{9D8B030D-6E8A-4147-A177-3AD203B41FA5}">
                      <a16:colId xmlns:a16="http://schemas.microsoft.com/office/drawing/2014/main" val="2804098867"/>
                    </a:ext>
                  </a:extLst>
                </a:gridCol>
                <a:gridCol w="5943599">
                  <a:extLst>
                    <a:ext uri="{9D8B030D-6E8A-4147-A177-3AD203B41FA5}">
                      <a16:colId xmlns:a16="http://schemas.microsoft.com/office/drawing/2014/main" val="3433866725"/>
                    </a:ext>
                  </a:extLst>
                </a:gridCol>
              </a:tblGrid>
              <a:tr h="311277">
                <a:tc>
                  <a:txBody>
                    <a:bodyPr/>
                    <a:lstStyle/>
                    <a:p>
                      <a:r>
                        <a:rPr lang="nb-NO" sz="1400"/>
                        <a:t>Produkt</a:t>
                      </a:r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nb-NO" sz="1400"/>
                        <a:t>Innhold</a:t>
                      </a:r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7958705"/>
                  </a:ext>
                </a:extLst>
              </a:tr>
              <a:tr h="311277">
                <a:tc>
                  <a:txBody>
                    <a:bodyPr/>
                    <a:lstStyle/>
                    <a:p>
                      <a:r>
                        <a:rPr lang="nb-NO" sz="120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998077"/>
                  </a:ext>
                </a:extLst>
              </a:tr>
              <a:tr h="311277">
                <a:tc>
                  <a:txBody>
                    <a:bodyPr/>
                    <a:lstStyle/>
                    <a:p>
                      <a:r>
                        <a:rPr lang="nb-NO" sz="1200"/>
                        <a:t>B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3476073"/>
                  </a:ext>
                </a:extLst>
              </a:tr>
              <a:tr h="311277">
                <a:tc>
                  <a:txBody>
                    <a:bodyPr/>
                    <a:lstStyle/>
                    <a:p>
                      <a:r>
                        <a:rPr lang="nb-NO" sz="1200"/>
                        <a:t>C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1744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396897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59725A8-BC87-44F4-AA35-B274C6CA56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Gevinstoversikt</a:t>
            </a:r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3A2E9116-C190-4869-A168-79F50493709C}"/>
              </a:ext>
            </a:extLst>
          </p:cNvPr>
          <p:cNvSpPr/>
          <p:nvPr/>
        </p:nvSpPr>
        <p:spPr>
          <a:xfrm>
            <a:off x="9753600" y="144379"/>
            <a:ext cx="2286000" cy="810126"/>
          </a:xfrm>
          <a:prstGeom prst="rect">
            <a:avLst/>
          </a:prstGeom>
          <a:ln>
            <a:solidFill>
              <a:schemeClr val="accent4">
                <a:lumMod val="50000"/>
              </a:schemeClr>
            </a:solidFill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200">
                <a:solidFill>
                  <a:schemeClr val="tx1"/>
                </a:solidFill>
              </a:rPr>
              <a:t>Lim inn et bilde av </a:t>
            </a:r>
            <a:r>
              <a:rPr lang="nb-NO" sz="1200">
                <a:solidFill>
                  <a:schemeClr val="tx1"/>
                </a:solidFill>
                <a:hlinkClick r:id="rId2"/>
              </a:rPr>
              <a:t>gevinstoversikten</a:t>
            </a:r>
            <a:r>
              <a:rPr lang="nb-NO" sz="1200">
                <a:solidFill>
                  <a:schemeClr val="tx1"/>
                </a:solidFill>
              </a:rPr>
              <a:t> (minimert)</a:t>
            </a: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96E8B604-3449-643E-FB79-B2D8F6562980}"/>
              </a:ext>
            </a:extLst>
          </p:cNvPr>
          <p:cNvSpPr txBox="1"/>
          <p:nvPr/>
        </p:nvSpPr>
        <p:spPr>
          <a:xfrm>
            <a:off x="3035525" y="3252426"/>
            <a:ext cx="610341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Calibri" panose="020F0502020204030204" pitchFamily="34" charset="0"/>
            </a:endParaRPr>
          </a:p>
        </p:txBody>
      </p:sp>
      <p:graphicFrame>
        <p:nvGraphicFramePr>
          <p:cNvPr id="3" name="Tabell 2">
            <a:extLst>
              <a:ext uri="{FF2B5EF4-FFF2-40B4-BE49-F238E27FC236}">
                <a16:creationId xmlns:a16="http://schemas.microsoft.com/office/drawing/2014/main" id="{8E23E855-B206-551A-D884-D8AF0266C8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0087134"/>
              </p:ext>
            </p:extLst>
          </p:nvPr>
        </p:nvGraphicFramePr>
        <p:xfrm>
          <a:off x="838200" y="2236606"/>
          <a:ext cx="10515600" cy="24027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28900">
                  <a:extLst>
                    <a:ext uri="{9D8B030D-6E8A-4147-A177-3AD203B41FA5}">
                      <a16:colId xmlns:a16="http://schemas.microsoft.com/office/drawing/2014/main" val="2329765949"/>
                    </a:ext>
                  </a:extLst>
                </a:gridCol>
                <a:gridCol w="2628900">
                  <a:extLst>
                    <a:ext uri="{9D8B030D-6E8A-4147-A177-3AD203B41FA5}">
                      <a16:colId xmlns:a16="http://schemas.microsoft.com/office/drawing/2014/main" val="1254850171"/>
                    </a:ext>
                  </a:extLst>
                </a:gridCol>
                <a:gridCol w="2628900">
                  <a:extLst>
                    <a:ext uri="{9D8B030D-6E8A-4147-A177-3AD203B41FA5}">
                      <a16:colId xmlns:a16="http://schemas.microsoft.com/office/drawing/2014/main" val="138367879"/>
                    </a:ext>
                  </a:extLst>
                </a:gridCol>
                <a:gridCol w="2628900">
                  <a:extLst>
                    <a:ext uri="{9D8B030D-6E8A-4147-A177-3AD203B41FA5}">
                      <a16:colId xmlns:a16="http://schemas.microsoft.com/office/drawing/2014/main" val="1380333010"/>
                    </a:ext>
                  </a:extLst>
                </a:gridCol>
              </a:tblGrid>
              <a:tr h="66534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cs typeface="Calibri" panose="020F0502020204030204" pitchFamily="34" charset="0"/>
                        </a:rPr>
                        <a:t>Titt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cs typeface="Calibri" panose="020F0502020204030204" pitchFamily="34" charset="0"/>
                        </a:rPr>
                        <a:t>End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cs typeface="Calibri" panose="020F0502020204030204" pitchFamily="34" charset="0"/>
                        </a:rPr>
                        <a:t>Gevinsttyp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b-NO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cs typeface="Calibri" panose="020F0502020204030204" pitchFamily="34" charset="0"/>
                        </a:rPr>
                        <a:t>Gevinstomsett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4984340"/>
                  </a:ext>
                </a:extLst>
              </a:tr>
              <a:tr h="66534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cs typeface="Calibri" panose="020F0502020204030204" pitchFamily="34" charset="0"/>
                        </a:rPr>
                        <a:t>{{</a:t>
                      </a:r>
                      <a:r>
                        <a:rPr kumimoji="0" lang="nb-NO" sz="1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cs typeface="Calibri" panose="020F0502020204030204" pitchFamily="34" charset="0"/>
                        </a:rPr>
                        <a:t>List:Gevinstanalyse</a:t>
                      </a:r>
                      <a:r>
                        <a:rPr kumimoji="0" lang="nb-NO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cs typeface="Calibri" panose="020F0502020204030204" pitchFamily="34" charset="0"/>
                        </a:rPr>
                        <a:t> og </a:t>
                      </a:r>
                      <a:r>
                        <a:rPr kumimoji="0" lang="nb-NO" sz="1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cs typeface="Calibri" panose="020F0502020204030204" pitchFamily="34" charset="0"/>
                        </a:rPr>
                        <a:t>gevinstrealiseringsplan;Fields</a:t>
                      </a:r>
                      <a:r>
                        <a:rPr kumimoji="0" lang="nb-NO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cs typeface="Calibri" panose="020F0502020204030204" pitchFamily="34" charset="0"/>
                        </a:rPr>
                        <a:t>:</a:t>
                      </a:r>
                      <a:r>
                        <a:rPr lang="nb-NO" sz="1800" b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itle,</a:t>
                      </a:r>
                      <a:r>
                        <a:rPr lang="nb-NO" sz="1800" b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tChangeLookup,GtGainsType,GtGainsTurnover</a:t>
                      </a:r>
                      <a:r>
                        <a:rPr kumimoji="0" lang="nb-NO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cs typeface="Calibri" panose="020F0502020204030204" pitchFamily="34" charset="0"/>
                        </a:rPr>
                        <a:t>}}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b-NO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b-NO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b-NO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883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82657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F694D86-4940-4B8D-AD50-D19B914140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7714"/>
            <a:ext cx="10515600" cy="1077218"/>
          </a:xfrm>
        </p:spPr>
        <p:txBody>
          <a:bodyPr/>
          <a:lstStyle/>
          <a:p>
            <a:r>
              <a:rPr lang="nb-NO"/>
              <a:t>Business case og finansiering</a:t>
            </a:r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AD88F773-69DA-4BE5-B5C4-F32913D92755}"/>
              </a:ext>
            </a:extLst>
          </p:cNvPr>
          <p:cNvSpPr/>
          <p:nvPr/>
        </p:nvSpPr>
        <p:spPr>
          <a:xfrm>
            <a:off x="9631095" y="242893"/>
            <a:ext cx="2286000" cy="810126"/>
          </a:xfrm>
          <a:prstGeom prst="rect">
            <a:avLst/>
          </a:prstGeom>
          <a:ln>
            <a:solidFill>
              <a:schemeClr val="accent4">
                <a:lumMod val="50000"/>
              </a:schemeClr>
            </a:solidFill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m inn et bilde av </a:t>
            </a: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2"/>
              </a:rPr>
              <a:t>business case</a:t>
            </a: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minimert)</a:t>
            </a:r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6D580FD0-EDBA-42D1-9991-2DD5DA9320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5492" y="1104932"/>
            <a:ext cx="11041016" cy="5696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76029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4">
            <a:extLst>
              <a:ext uri="{FF2B5EF4-FFF2-40B4-BE49-F238E27FC236}">
                <a16:creationId xmlns:a16="http://schemas.microsoft.com/office/drawing/2014/main" id="{BD4EB760-C165-4FDA-B527-88810B3DA7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Mål</a:t>
            </a:r>
          </a:p>
        </p:txBody>
      </p:sp>
      <p:graphicFrame>
        <p:nvGraphicFramePr>
          <p:cNvPr id="4" name="Tabell 3">
            <a:extLst>
              <a:ext uri="{FF2B5EF4-FFF2-40B4-BE49-F238E27FC236}">
                <a16:creationId xmlns:a16="http://schemas.microsoft.com/office/drawing/2014/main" id="{67057529-5F07-4383-AFB3-6F3D6C0A94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0993093"/>
              </p:ext>
            </p:extLst>
          </p:nvPr>
        </p:nvGraphicFramePr>
        <p:xfrm>
          <a:off x="838200" y="1934467"/>
          <a:ext cx="10515600" cy="42616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23014">
                  <a:extLst>
                    <a:ext uri="{9D8B030D-6E8A-4147-A177-3AD203B41FA5}">
                      <a16:colId xmlns:a16="http://schemas.microsoft.com/office/drawing/2014/main" val="2804098867"/>
                    </a:ext>
                  </a:extLst>
                </a:gridCol>
                <a:gridCol w="4246293">
                  <a:extLst>
                    <a:ext uri="{9D8B030D-6E8A-4147-A177-3AD203B41FA5}">
                      <a16:colId xmlns:a16="http://schemas.microsoft.com/office/drawing/2014/main" val="3433866725"/>
                    </a:ext>
                  </a:extLst>
                </a:gridCol>
                <a:gridCol w="4246293">
                  <a:extLst>
                    <a:ext uri="{9D8B030D-6E8A-4147-A177-3AD203B41FA5}">
                      <a16:colId xmlns:a16="http://schemas.microsoft.com/office/drawing/2014/main" val="1987739662"/>
                    </a:ext>
                  </a:extLst>
                </a:gridCol>
              </a:tblGrid>
              <a:tr h="487236">
                <a:tc>
                  <a:txBody>
                    <a:bodyPr/>
                    <a:lstStyle/>
                    <a:p>
                      <a:r>
                        <a:rPr lang="nb-NO" sz="1400"/>
                        <a:t>Nivå</a:t>
                      </a:r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nb-NO" sz="1400"/>
                        <a:t>Beskrivelse</a:t>
                      </a:r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nb-NO" sz="1400"/>
                        <a:t>Suksesskriterier</a:t>
                      </a:r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7958705"/>
                  </a:ext>
                </a:extLst>
              </a:tr>
              <a:tr h="1321544">
                <a:tc>
                  <a:txBody>
                    <a:bodyPr/>
                    <a:lstStyle/>
                    <a:p>
                      <a:r>
                        <a:rPr lang="nb-NO" sz="120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rksomhetsmål</a:t>
                      </a:r>
                    </a:p>
                    <a:p>
                      <a:r>
                        <a:rPr lang="nb-NO" sz="120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Ønsket fremtidig situasjon – strategisk, </a:t>
                      </a:r>
                      <a:r>
                        <a:rPr lang="nb-NO" sz="120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riftrelatert</a:t>
                      </a:r>
                      <a:r>
                        <a:rPr lang="nb-NO" sz="120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og/eller </a:t>
                      </a:r>
                      <a:r>
                        <a:rPr lang="nb-NO" sz="120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gulatoriak</a:t>
                      </a:r>
                      <a:endParaRPr lang="nb-NO" sz="1200" b="0" i="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20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20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20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nb-NO" sz="1200"/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err="1"/>
                        <a:t>X</a:t>
                      </a:r>
                      <a:r>
                        <a:rPr lang="nb-NO" sz="1200"/>
                        <a:t>% reduksjon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err="1"/>
                        <a:t>X</a:t>
                      </a:r>
                      <a:r>
                        <a:rPr lang="nb-NO" sz="1200"/>
                        <a:t>% økning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998077"/>
                  </a:ext>
                </a:extLst>
              </a:tr>
              <a:tr h="1081263">
                <a:tc>
                  <a:txBody>
                    <a:bodyPr/>
                    <a:lstStyle/>
                    <a:p>
                      <a:r>
                        <a:rPr lang="nb-NO" sz="1200"/>
                        <a:t>Effektmål / gevinst</a:t>
                      </a:r>
                    </a:p>
                    <a:p>
                      <a:r>
                        <a:rPr lang="nb-NO" sz="1200"/>
                        <a:t>Hvilke konkrete endringer skal prosjektet føre til</a:t>
                      </a:r>
                    </a:p>
                    <a:p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20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20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20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nb-NO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err="1"/>
                        <a:t>X</a:t>
                      </a:r>
                      <a:r>
                        <a:rPr lang="nb-NO" sz="1200"/>
                        <a:t>% reduksjon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err="1"/>
                        <a:t>X</a:t>
                      </a:r>
                      <a:r>
                        <a:rPr lang="nb-NO" sz="1200"/>
                        <a:t>% økning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3476073"/>
                  </a:ext>
                </a:extLst>
              </a:tr>
              <a:tr h="1321544">
                <a:tc>
                  <a:txBody>
                    <a:bodyPr/>
                    <a:lstStyle/>
                    <a:p>
                      <a:r>
                        <a:rPr lang="nb-NO" sz="1200"/>
                        <a:t>Resultatmål / Prosjektprodukt / Leveranse </a:t>
                      </a:r>
                    </a:p>
                    <a:p>
                      <a:r>
                        <a:rPr lang="nb-NO" sz="1200"/>
                        <a:t>Den konkrete tjenesten eller det produktet som skal fremskaffes i prosjektet.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20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vedprodukt 1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20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vedprodukt 2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20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vedprodukt 3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/>
                        <a:t>Beskriv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174483"/>
                  </a:ext>
                </a:extLst>
              </a:tr>
            </a:tbl>
          </a:graphicData>
        </a:graphic>
      </p:graphicFrame>
      <p:sp>
        <p:nvSpPr>
          <p:cNvPr id="6" name="Rektangel 5">
            <a:extLst>
              <a:ext uri="{FF2B5EF4-FFF2-40B4-BE49-F238E27FC236}">
                <a16:creationId xmlns:a16="http://schemas.microsoft.com/office/drawing/2014/main" id="{E364D7C4-B9BD-48BB-9B91-AFE852151A2B}"/>
              </a:ext>
            </a:extLst>
          </p:cNvPr>
          <p:cNvSpPr/>
          <p:nvPr/>
        </p:nvSpPr>
        <p:spPr>
          <a:xfrm>
            <a:off x="9728093" y="144379"/>
            <a:ext cx="2286000" cy="1601363"/>
          </a:xfrm>
          <a:prstGeom prst="rect">
            <a:avLst/>
          </a:prstGeom>
          <a:ln>
            <a:solidFill>
              <a:schemeClr val="accent4">
                <a:lumMod val="50000"/>
              </a:schemeClr>
            </a:solidFill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a prosjektforslaget, med evt. oppdateringer</a:t>
            </a:r>
          </a:p>
        </p:txBody>
      </p:sp>
    </p:spTree>
    <p:extLst>
      <p:ext uri="{BB962C8B-B14F-4D97-AF65-F5344CB8AC3E}">
        <p14:creationId xmlns:p14="http://schemas.microsoft.com/office/powerpoint/2010/main" val="37530289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79133C8-C458-4879-8224-2AB2186B4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err="1"/>
              <a:t>Hovedinteressenter</a:t>
            </a:r>
            <a:endParaRPr lang="nb-NO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9298ED49-B96D-4CCF-B01D-D36F653383D9}"/>
              </a:ext>
            </a:extLst>
          </p:cNvPr>
          <p:cNvSpPr/>
          <p:nvPr/>
        </p:nvSpPr>
        <p:spPr>
          <a:xfrm>
            <a:off x="9728093" y="144379"/>
            <a:ext cx="2286000" cy="1601363"/>
          </a:xfrm>
          <a:prstGeom prst="rect">
            <a:avLst/>
          </a:prstGeom>
          <a:ln>
            <a:solidFill>
              <a:schemeClr val="accent4">
                <a:lumMod val="50000"/>
              </a:schemeClr>
            </a:solidFill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200">
                <a:solidFill>
                  <a:schemeClr val="tx1"/>
                </a:solidFill>
              </a:rPr>
              <a:t>Fra prosjektforslaget med oppdateringer</a:t>
            </a:r>
          </a:p>
        </p:txBody>
      </p:sp>
      <p:graphicFrame>
        <p:nvGraphicFramePr>
          <p:cNvPr id="5" name="Plassholder for innhold 4">
            <a:extLst>
              <a:ext uri="{FF2B5EF4-FFF2-40B4-BE49-F238E27FC236}">
                <a16:creationId xmlns:a16="http://schemas.microsoft.com/office/drawing/2014/main" id="{ED2FA090-C5E8-4DF6-BCB9-F38620281AF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90977941"/>
              </p:ext>
            </p:extLst>
          </p:nvPr>
        </p:nvGraphicFramePr>
        <p:xfrm>
          <a:off x="838200" y="2094675"/>
          <a:ext cx="10515599" cy="248903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9668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9897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01993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38542">
                <a:tc>
                  <a:txBody>
                    <a:bodyPr/>
                    <a:lstStyle/>
                    <a:p>
                      <a:pPr algn="l"/>
                      <a:r>
                        <a:rPr lang="nb-NO" sz="1400">
                          <a:solidFill>
                            <a:schemeClr val="bg1"/>
                          </a:solidFill>
                        </a:rPr>
                        <a:t>Linjerolle/-gruppe</a:t>
                      </a:r>
                    </a:p>
                  </a:txBody>
                  <a:tcPr marT="45717" marB="45717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b-NO" sz="1400">
                          <a:solidFill>
                            <a:schemeClr val="bg1"/>
                          </a:solidFill>
                        </a:rPr>
                        <a:t>Vil kunne påvirke prosjektet og hvordan?</a:t>
                      </a:r>
                    </a:p>
                  </a:txBody>
                  <a:tcPr marT="45717" marB="45717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b-NO" sz="1400">
                          <a:solidFill>
                            <a:schemeClr val="bg1"/>
                          </a:solidFill>
                        </a:rPr>
                        <a:t>Vil kunne bli påvirket av prosjektet og hvordan?</a:t>
                      </a:r>
                    </a:p>
                  </a:txBody>
                  <a:tcPr marT="45717" marB="45717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8416"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spcBef>
                          <a:spcPct val="30000"/>
                        </a:spcBef>
                        <a:buClr>
                          <a:srgbClr val="037EC7"/>
                        </a:buClr>
                        <a:buSzPct val="100000"/>
                        <a:buNone/>
                        <a:tabLst>
                          <a:tab pos="568325" algn="l"/>
                        </a:tabLst>
                      </a:pPr>
                      <a:endParaRPr lang="nb-NO" sz="12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17" marB="45717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 marT="45717" marB="45717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 marT="45717" marB="45717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8416"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spcBef>
                          <a:spcPct val="30000"/>
                        </a:spcBef>
                        <a:buClr>
                          <a:srgbClr val="037EC7"/>
                        </a:buClr>
                        <a:buSzPct val="100000"/>
                        <a:buNone/>
                        <a:tabLst>
                          <a:tab pos="568325" algn="l"/>
                        </a:tabLst>
                      </a:pPr>
                      <a:endParaRPr lang="nb-NO" sz="12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17" marB="45717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 marT="45717" marB="45717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 marT="45717" marB="45717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8798941"/>
                  </a:ext>
                </a:extLst>
              </a:tr>
              <a:tr h="358416"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spcBef>
                          <a:spcPct val="30000"/>
                        </a:spcBef>
                        <a:buClr>
                          <a:srgbClr val="037EC7"/>
                        </a:buClr>
                        <a:buSzPct val="100000"/>
                        <a:buNone/>
                        <a:tabLst>
                          <a:tab pos="568325" algn="l"/>
                        </a:tabLst>
                      </a:pPr>
                      <a:endParaRPr lang="nb-NO" sz="12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17" marB="45717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 marT="45717" marB="45717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 marT="45717" marB="45717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1843173"/>
                  </a:ext>
                </a:extLst>
              </a:tr>
              <a:tr h="358416"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spcBef>
                          <a:spcPct val="30000"/>
                        </a:spcBef>
                        <a:buClr>
                          <a:srgbClr val="037EC7"/>
                        </a:buClr>
                        <a:buSzPct val="100000"/>
                        <a:buNone/>
                        <a:tabLst>
                          <a:tab pos="568325" algn="l"/>
                        </a:tabLst>
                      </a:pPr>
                      <a:endParaRPr lang="nb-NO" sz="12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17" marB="45717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 marT="45717" marB="45717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 marT="45717" marB="45717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5630274"/>
                  </a:ext>
                </a:extLst>
              </a:tr>
              <a:tr h="358416"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spcBef>
                          <a:spcPct val="30000"/>
                        </a:spcBef>
                        <a:buClr>
                          <a:srgbClr val="037EC7"/>
                        </a:buClr>
                        <a:buSzPct val="100000"/>
                        <a:buNone/>
                        <a:tabLst>
                          <a:tab pos="568325" algn="l"/>
                        </a:tabLst>
                      </a:pPr>
                      <a:endParaRPr lang="nb-NO" sz="12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17" marB="45717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 marT="45717" marB="45717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 marT="45717" marB="45717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1909947"/>
                  </a:ext>
                </a:extLst>
              </a:tr>
              <a:tr h="358416"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spcBef>
                          <a:spcPct val="30000"/>
                        </a:spcBef>
                        <a:buClr>
                          <a:srgbClr val="037EC7"/>
                        </a:buClr>
                        <a:buSzPct val="100000"/>
                        <a:buNone/>
                        <a:tabLst>
                          <a:tab pos="568325" algn="l"/>
                        </a:tabLst>
                      </a:pPr>
                      <a:endParaRPr lang="nb-NO" sz="12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17" marB="45717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 marT="45717" marB="45717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 marT="45717" marB="45717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85660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936046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3" name="Rett linje 32">
            <a:extLst>
              <a:ext uri="{FF2B5EF4-FFF2-40B4-BE49-F238E27FC236}">
                <a16:creationId xmlns:a16="http://schemas.microsoft.com/office/drawing/2014/main" id="{1C81A197-90DD-4121-85FA-3A9A477E7BB2}"/>
              </a:ext>
            </a:extLst>
          </p:cNvPr>
          <p:cNvCxnSpPr>
            <a:cxnSpLocks/>
          </p:cNvCxnSpPr>
          <p:nvPr/>
        </p:nvCxnSpPr>
        <p:spPr>
          <a:xfrm flipH="1">
            <a:off x="5775310" y="4743451"/>
            <a:ext cx="528636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tt linje 38">
            <a:extLst>
              <a:ext uri="{FF2B5EF4-FFF2-40B4-BE49-F238E27FC236}">
                <a16:creationId xmlns:a16="http://schemas.microsoft.com/office/drawing/2014/main" id="{4F59CEFB-9E53-45E1-AACB-5121F9261911}"/>
              </a:ext>
            </a:extLst>
          </p:cNvPr>
          <p:cNvCxnSpPr>
            <a:cxnSpLocks/>
          </p:cNvCxnSpPr>
          <p:nvPr/>
        </p:nvCxnSpPr>
        <p:spPr>
          <a:xfrm>
            <a:off x="7372349" y="5627579"/>
            <a:ext cx="4762" cy="32955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Rett linje 25">
            <a:extLst>
              <a:ext uri="{FF2B5EF4-FFF2-40B4-BE49-F238E27FC236}">
                <a16:creationId xmlns:a16="http://schemas.microsoft.com/office/drawing/2014/main" id="{FE2DC0AC-5736-4032-8F13-418789139385}"/>
              </a:ext>
            </a:extLst>
          </p:cNvPr>
          <p:cNvCxnSpPr>
            <a:cxnSpLocks/>
            <a:stCxn id="20" idx="2"/>
            <a:endCxn id="18" idx="0"/>
          </p:cNvCxnSpPr>
          <p:nvPr/>
        </p:nvCxnSpPr>
        <p:spPr>
          <a:xfrm flipH="1">
            <a:off x="5233986" y="4079541"/>
            <a:ext cx="1" cy="1720034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ett linje 21">
            <a:extLst>
              <a:ext uri="{FF2B5EF4-FFF2-40B4-BE49-F238E27FC236}">
                <a16:creationId xmlns:a16="http://schemas.microsoft.com/office/drawing/2014/main" id="{0373CC1F-6602-40EC-8EEF-E6E2F2EB1B4B}"/>
              </a:ext>
            </a:extLst>
          </p:cNvPr>
          <p:cNvCxnSpPr>
            <a:cxnSpLocks/>
          </p:cNvCxnSpPr>
          <p:nvPr/>
        </p:nvCxnSpPr>
        <p:spPr>
          <a:xfrm>
            <a:off x="6296025" y="2308867"/>
            <a:ext cx="0" cy="243458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tel 1">
            <a:extLst>
              <a:ext uri="{FF2B5EF4-FFF2-40B4-BE49-F238E27FC236}">
                <a16:creationId xmlns:a16="http://schemas.microsoft.com/office/drawing/2014/main" id="{F0D3AF00-AC04-4E02-B5DD-3D71EF56F6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>
                <a:solidFill>
                  <a:schemeClr val="accent1"/>
                </a:solidFill>
              </a:rPr>
              <a:t>Prosjektorganisasjonen</a:t>
            </a:r>
          </a:p>
        </p:txBody>
      </p:sp>
      <p:sp>
        <p:nvSpPr>
          <p:cNvPr id="14" name="Rektangel: avrundede hjørner 13">
            <a:extLst>
              <a:ext uri="{FF2B5EF4-FFF2-40B4-BE49-F238E27FC236}">
                <a16:creationId xmlns:a16="http://schemas.microsoft.com/office/drawing/2014/main" id="{5D23E58C-3E99-4D25-A13E-AD04A6B5BDFE}"/>
              </a:ext>
            </a:extLst>
          </p:cNvPr>
          <p:cNvSpPr/>
          <p:nvPr/>
        </p:nvSpPr>
        <p:spPr>
          <a:xfrm>
            <a:off x="3848100" y="1790700"/>
            <a:ext cx="4895850" cy="48959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dergruppen</a:t>
            </a:r>
          </a:p>
        </p:txBody>
      </p:sp>
      <p:sp>
        <p:nvSpPr>
          <p:cNvPr id="16" name="Rektangel: avrundede hjørner 15">
            <a:extLst>
              <a:ext uri="{FF2B5EF4-FFF2-40B4-BE49-F238E27FC236}">
                <a16:creationId xmlns:a16="http://schemas.microsoft.com/office/drawing/2014/main" id="{4EC1757C-116A-4063-8568-EBB369B7A457}"/>
              </a:ext>
            </a:extLst>
          </p:cNvPr>
          <p:cNvSpPr/>
          <p:nvPr/>
        </p:nvSpPr>
        <p:spPr>
          <a:xfrm>
            <a:off x="3848100" y="2685097"/>
            <a:ext cx="4895850" cy="48959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sjekteier</a:t>
            </a:r>
          </a:p>
        </p:txBody>
      </p:sp>
      <p:sp>
        <p:nvSpPr>
          <p:cNvPr id="17" name="Rektangel: avrundede hjørner 16">
            <a:extLst>
              <a:ext uri="{FF2B5EF4-FFF2-40B4-BE49-F238E27FC236}">
                <a16:creationId xmlns:a16="http://schemas.microsoft.com/office/drawing/2014/main" id="{AC1BBC65-F333-43E8-AC59-44AA6990B5AD}"/>
              </a:ext>
            </a:extLst>
          </p:cNvPr>
          <p:cNvSpPr/>
          <p:nvPr/>
        </p:nvSpPr>
        <p:spPr>
          <a:xfrm>
            <a:off x="4314825" y="4494832"/>
            <a:ext cx="1838325" cy="48959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sjektleder</a:t>
            </a:r>
          </a:p>
        </p:txBody>
      </p:sp>
      <p:sp>
        <p:nvSpPr>
          <p:cNvPr id="18" name="Rektangel: avrundede hjørner 17">
            <a:extLst>
              <a:ext uri="{FF2B5EF4-FFF2-40B4-BE49-F238E27FC236}">
                <a16:creationId xmlns:a16="http://schemas.microsoft.com/office/drawing/2014/main" id="{343E4A99-0AF7-4EA6-95B1-EB92AB4EB42D}"/>
              </a:ext>
            </a:extLst>
          </p:cNvPr>
          <p:cNvSpPr/>
          <p:nvPr/>
        </p:nvSpPr>
        <p:spPr>
          <a:xfrm>
            <a:off x="4314823" y="5799575"/>
            <a:ext cx="1838325" cy="48959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sjektgruppe</a:t>
            </a:r>
          </a:p>
        </p:txBody>
      </p:sp>
      <p:sp>
        <p:nvSpPr>
          <p:cNvPr id="19" name="Rektangel: avrundede hjørner 18">
            <a:extLst>
              <a:ext uri="{FF2B5EF4-FFF2-40B4-BE49-F238E27FC236}">
                <a16:creationId xmlns:a16="http://schemas.microsoft.com/office/drawing/2014/main" id="{1A82DF53-BF7E-42C7-9454-72B1E99E6EBD}"/>
              </a:ext>
            </a:extLst>
          </p:cNvPr>
          <p:cNvSpPr/>
          <p:nvPr/>
        </p:nvSpPr>
        <p:spPr>
          <a:xfrm>
            <a:off x="6453186" y="5816926"/>
            <a:ext cx="1838325" cy="4953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feransegruppe</a:t>
            </a:r>
          </a:p>
        </p:txBody>
      </p:sp>
      <p:sp>
        <p:nvSpPr>
          <p:cNvPr id="20" name="Rektangel: avrundede hjørner 19">
            <a:extLst>
              <a:ext uri="{FF2B5EF4-FFF2-40B4-BE49-F238E27FC236}">
                <a16:creationId xmlns:a16="http://schemas.microsoft.com/office/drawing/2014/main" id="{793396D3-9B51-417E-AA63-8A84C06E369B}"/>
              </a:ext>
            </a:extLst>
          </p:cNvPr>
          <p:cNvSpPr/>
          <p:nvPr/>
        </p:nvSpPr>
        <p:spPr>
          <a:xfrm>
            <a:off x="4314824" y="3589949"/>
            <a:ext cx="1838325" cy="48959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yringsgruppe</a:t>
            </a:r>
          </a:p>
        </p:txBody>
      </p:sp>
      <p:cxnSp>
        <p:nvCxnSpPr>
          <p:cNvPr id="30" name="Rett linje 29">
            <a:extLst>
              <a:ext uri="{FF2B5EF4-FFF2-40B4-BE49-F238E27FC236}">
                <a16:creationId xmlns:a16="http://schemas.microsoft.com/office/drawing/2014/main" id="{7C196974-DB52-4E74-9ACA-1F04BB89F723}"/>
              </a:ext>
            </a:extLst>
          </p:cNvPr>
          <p:cNvCxnSpPr>
            <a:cxnSpLocks/>
          </p:cNvCxnSpPr>
          <p:nvPr/>
        </p:nvCxnSpPr>
        <p:spPr>
          <a:xfrm flipH="1">
            <a:off x="6076950" y="3838575"/>
            <a:ext cx="219075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tt linje 36">
            <a:extLst>
              <a:ext uri="{FF2B5EF4-FFF2-40B4-BE49-F238E27FC236}">
                <a16:creationId xmlns:a16="http://schemas.microsoft.com/office/drawing/2014/main" id="{87DCF372-15FB-45E4-B534-EE7E9797EF28}"/>
              </a:ext>
            </a:extLst>
          </p:cNvPr>
          <p:cNvCxnSpPr>
            <a:cxnSpLocks/>
          </p:cNvCxnSpPr>
          <p:nvPr/>
        </p:nvCxnSpPr>
        <p:spPr>
          <a:xfrm flipH="1">
            <a:off x="5233987" y="5617082"/>
            <a:ext cx="2138361" cy="2839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ktangel 45">
            <a:extLst>
              <a:ext uri="{FF2B5EF4-FFF2-40B4-BE49-F238E27FC236}">
                <a16:creationId xmlns:a16="http://schemas.microsoft.com/office/drawing/2014/main" id="{56DBA5BB-F939-4724-94CA-7B5EBB2CE364}"/>
              </a:ext>
            </a:extLst>
          </p:cNvPr>
          <p:cNvSpPr/>
          <p:nvPr/>
        </p:nvSpPr>
        <p:spPr>
          <a:xfrm>
            <a:off x="6638936" y="3584069"/>
            <a:ext cx="2790816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svar for at godkjente leveranser er </a:t>
            </a:r>
            <a:r>
              <a:rPr kumimoji="0" lang="nb-NO" sz="10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hht</a:t>
            </a: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leveranser, mål og rammer beskrevet i prosjekts styringsdokument.</a:t>
            </a:r>
          </a:p>
        </p:txBody>
      </p:sp>
      <p:sp>
        <p:nvSpPr>
          <p:cNvPr id="47" name="Rektangel 46">
            <a:extLst>
              <a:ext uri="{FF2B5EF4-FFF2-40B4-BE49-F238E27FC236}">
                <a16:creationId xmlns:a16="http://schemas.microsoft.com/office/drawing/2014/main" id="{713F8A85-B68D-4AF5-885D-DAE1DD1D27E2}"/>
              </a:ext>
            </a:extLst>
          </p:cNvPr>
          <p:cNvSpPr/>
          <p:nvPr/>
        </p:nvSpPr>
        <p:spPr>
          <a:xfrm>
            <a:off x="682079" y="2672761"/>
            <a:ext cx="3158097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finerer målet for prosjektet og har overordnet ansvar for gjennomføringen av prosjektet og at godkjente leveranser er </a:t>
            </a:r>
            <a:r>
              <a:rPr kumimoji="0" lang="nb-NO" sz="10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hht</a:t>
            </a: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til leveranser, mål og rammer beskrevet i prosjekts styringsdokumen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svar for innhold i prosjektforslag og styringsdokument.</a:t>
            </a:r>
          </a:p>
        </p:txBody>
      </p:sp>
      <p:sp>
        <p:nvSpPr>
          <p:cNvPr id="48" name="Rektangel 47">
            <a:extLst>
              <a:ext uri="{FF2B5EF4-FFF2-40B4-BE49-F238E27FC236}">
                <a16:creationId xmlns:a16="http://schemas.microsoft.com/office/drawing/2014/main" id="{49E91A19-82BB-46DB-A435-F365E28A48E3}"/>
              </a:ext>
            </a:extLst>
          </p:cNvPr>
          <p:cNvSpPr/>
          <p:nvPr/>
        </p:nvSpPr>
        <p:spPr>
          <a:xfrm>
            <a:off x="682079" y="4500198"/>
            <a:ext cx="3166015" cy="90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svar for at prosjektet gjennomføres </a:t>
            </a:r>
            <a:r>
              <a:rPr kumimoji="0" lang="nb-NO" sz="10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hht</a:t>
            </a: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Vinmonopolets metodikk, prosess og </a:t>
            </a:r>
            <a:r>
              <a:rPr kumimoji="0" lang="nb-NO" sz="10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lverk</a:t>
            </a: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leveranser, mål og rammer beskrevet i prosjekts styringsdokumen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føringer fra prosjekteier/styringsgruppe.</a:t>
            </a:r>
          </a:p>
        </p:txBody>
      </p:sp>
      <p:sp>
        <p:nvSpPr>
          <p:cNvPr id="50" name="Rektangel 49">
            <a:extLst>
              <a:ext uri="{FF2B5EF4-FFF2-40B4-BE49-F238E27FC236}">
                <a16:creationId xmlns:a16="http://schemas.microsoft.com/office/drawing/2014/main" id="{4816CBD2-79B9-447C-B2C9-C1D8F67E7BBA}"/>
              </a:ext>
            </a:extLst>
          </p:cNvPr>
          <p:cNvSpPr/>
          <p:nvPr/>
        </p:nvSpPr>
        <p:spPr>
          <a:xfrm>
            <a:off x="682079" y="5755782"/>
            <a:ext cx="3249840" cy="90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svar for å gjennomføre prosjektet </a:t>
            </a:r>
            <a:r>
              <a:rPr kumimoji="0" lang="nb-NO" sz="10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hht</a:t>
            </a: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leveranser, mål og rammer beskrevet i prosjekts styringsdokument, under ledelse av prosjektleder. Jobber selvstendig og i team med blikk for helheten i prosjektet i tillegg til sitt fagområde spesielt.</a:t>
            </a:r>
          </a:p>
        </p:txBody>
      </p:sp>
      <p:sp>
        <p:nvSpPr>
          <p:cNvPr id="51" name="Rektangel 50">
            <a:extLst>
              <a:ext uri="{FF2B5EF4-FFF2-40B4-BE49-F238E27FC236}">
                <a16:creationId xmlns:a16="http://schemas.microsoft.com/office/drawing/2014/main" id="{A430F668-B4EA-4B29-9967-5F758DF9A167}"/>
              </a:ext>
            </a:extLst>
          </p:cNvPr>
          <p:cNvSpPr/>
          <p:nvPr/>
        </p:nvSpPr>
        <p:spPr>
          <a:xfrm>
            <a:off x="8504890" y="5799575"/>
            <a:ext cx="1838325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står prosjektet ved behov. Rådgivere og input der det er relevant.</a:t>
            </a:r>
          </a:p>
        </p:txBody>
      </p:sp>
      <p:sp>
        <p:nvSpPr>
          <p:cNvPr id="52" name="Rektangel 51">
            <a:extLst>
              <a:ext uri="{FF2B5EF4-FFF2-40B4-BE49-F238E27FC236}">
                <a16:creationId xmlns:a16="http://schemas.microsoft.com/office/drawing/2014/main" id="{057C7C40-9616-4AD1-A8AA-11B2604525E3}"/>
              </a:ext>
            </a:extLst>
          </p:cNvPr>
          <p:cNvSpPr/>
          <p:nvPr/>
        </p:nvSpPr>
        <p:spPr>
          <a:xfrm>
            <a:off x="682079" y="1798320"/>
            <a:ext cx="281462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slutter igangsettelse og avslutning av prosjektet.</a:t>
            </a:r>
          </a:p>
        </p:txBody>
      </p:sp>
      <p:sp>
        <p:nvSpPr>
          <p:cNvPr id="21" name="Rektangel: avrundede hjørner 20">
            <a:extLst>
              <a:ext uri="{FF2B5EF4-FFF2-40B4-BE49-F238E27FC236}">
                <a16:creationId xmlns:a16="http://schemas.microsoft.com/office/drawing/2014/main" id="{D6BC2122-FB56-4676-B210-9F473EC9B5C7}"/>
              </a:ext>
            </a:extLst>
          </p:cNvPr>
          <p:cNvSpPr/>
          <p:nvPr/>
        </p:nvSpPr>
        <p:spPr>
          <a:xfrm>
            <a:off x="6453186" y="4947836"/>
            <a:ext cx="1838325" cy="48959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sjektstøtte</a:t>
            </a:r>
          </a:p>
        </p:txBody>
      </p:sp>
      <p:cxnSp>
        <p:nvCxnSpPr>
          <p:cNvPr id="23" name="Rett linje 22">
            <a:extLst>
              <a:ext uri="{FF2B5EF4-FFF2-40B4-BE49-F238E27FC236}">
                <a16:creationId xmlns:a16="http://schemas.microsoft.com/office/drawing/2014/main" id="{73CF4DBE-A891-4062-981D-7D8A7777F1B5}"/>
              </a:ext>
            </a:extLst>
          </p:cNvPr>
          <p:cNvCxnSpPr>
            <a:cxnSpLocks/>
          </p:cNvCxnSpPr>
          <p:nvPr/>
        </p:nvCxnSpPr>
        <p:spPr>
          <a:xfrm flipH="1">
            <a:off x="5233985" y="5206747"/>
            <a:ext cx="1286369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ktangel 24">
            <a:extLst>
              <a:ext uri="{FF2B5EF4-FFF2-40B4-BE49-F238E27FC236}">
                <a16:creationId xmlns:a16="http://schemas.microsoft.com/office/drawing/2014/main" id="{6E5AD726-4D5F-471C-A659-DEFF2DA47477}"/>
              </a:ext>
            </a:extLst>
          </p:cNvPr>
          <p:cNvSpPr/>
          <p:nvPr/>
        </p:nvSpPr>
        <p:spPr>
          <a:xfrm>
            <a:off x="8504890" y="4924792"/>
            <a:ext cx="1996804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står prosjektleder i planlegging og gjennomføring av prosjektet, etter behov.</a:t>
            </a:r>
          </a:p>
        </p:txBody>
      </p:sp>
      <p:sp>
        <p:nvSpPr>
          <p:cNvPr id="27" name="Rektangel: avrundede hjørner 26">
            <a:extLst>
              <a:ext uri="{FF2B5EF4-FFF2-40B4-BE49-F238E27FC236}">
                <a16:creationId xmlns:a16="http://schemas.microsoft.com/office/drawing/2014/main" id="{75048AE3-E63E-4FA4-898E-F19D5D52C8E5}"/>
              </a:ext>
            </a:extLst>
          </p:cNvPr>
          <p:cNvSpPr/>
          <p:nvPr/>
        </p:nvSpPr>
        <p:spPr>
          <a:xfrm>
            <a:off x="10011917" y="1739615"/>
            <a:ext cx="1838325" cy="48959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sjektkontor</a:t>
            </a:r>
          </a:p>
        </p:txBody>
      </p:sp>
      <p:sp>
        <p:nvSpPr>
          <p:cNvPr id="28" name="Rektangel: avrundede hjørner 27">
            <a:extLst>
              <a:ext uri="{FF2B5EF4-FFF2-40B4-BE49-F238E27FC236}">
                <a16:creationId xmlns:a16="http://schemas.microsoft.com/office/drawing/2014/main" id="{FC94B6D8-40ED-4FAC-95EF-5E03E2EC5182}"/>
              </a:ext>
            </a:extLst>
          </p:cNvPr>
          <p:cNvSpPr/>
          <p:nvPr/>
        </p:nvSpPr>
        <p:spPr>
          <a:xfrm>
            <a:off x="9947527" y="3593779"/>
            <a:ext cx="1838325" cy="48959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sjektcontroller</a:t>
            </a:r>
            <a:endParaRPr kumimoji="0" lang="nb-NO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Rektangel 28">
            <a:extLst>
              <a:ext uri="{FF2B5EF4-FFF2-40B4-BE49-F238E27FC236}">
                <a16:creationId xmlns:a16="http://schemas.microsoft.com/office/drawing/2014/main" id="{3F0195C3-59EF-4415-9A69-3406BE51B42F}"/>
              </a:ext>
            </a:extLst>
          </p:cNvPr>
          <p:cNvSpPr/>
          <p:nvPr/>
        </p:nvSpPr>
        <p:spPr>
          <a:xfrm>
            <a:off x="10011916" y="2299308"/>
            <a:ext cx="1838325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lrettelegger for gjennomføringskraft og forutsigbarhet</a:t>
            </a:r>
          </a:p>
        </p:txBody>
      </p:sp>
      <p:sp>
        <p:nvSpPr>
          <p:cNvPr id="31" name="Rektangel 30">
            <a:extLst>
              <a:ext uri="{FF2B5EF4-FFF2-40B4-BE49-F238E27FC236}">
                <a16:creationId xmlns:a16="http://schemas.microsoft.com/office/drawing/2014/main" id="{3E821161-F2BA-4043-BE0A-1E3ECF1F162B}"/>
              </a:ext>
            </a:extLst>
          </p:cNvPr>
          <p:cNvSpPr/>
          <p:nvPr/>
        </p:nvSpPr>
        <p:spPr>
          <a:xfrm>
            <a:off x="9917720" y="4151211"/>
            <a:ext cx="1932521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står på business case og økonomi, samt administrerer tildeling av midler.</a:t>
            </a:r>
          </a:p>
        </p:txBody>
      </p:sp>
    </p:spTree>
    <p:extLst>
      <p:ext uri="{BB962C8B-B14F-4D97-AF65-F5344CB8AC3E}">
        <p14:creationId xmlns:p14="http://schemas.microsoft.com/office/powerpoint/2010/main" val="27257636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NTAG" val="Bildeplasshold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_TUVcCSxiLshCGEoaFaQ"/>
</p:tagLst>
</file>

<file path=ppt/theme/theme1.xml><?xml version="1.0" encoding="utf-8"?>
<a:theme xmlns:a="http://schemas.openxmlformats.org/drawingml/2006/main" name="Office Theme">
  <a:themeElements>
    <a:clrScheme name="Vinmonopolet">
      <a:dk1>
        <a:srgbClr val="000000"/>
      </a:dk1>
      <a:lt1>
        <a:srgbClr val="FFFFFF"/>
      </a:lt1>
      <a:dk2>
        <a:srgbClr val="296459"/>
      </a:dk2>
      <a:lt2>
        <a:srgbClr val="D2E0DD"/>
      </a:lt2>
      <a:accent1>
        <a:srgbClr val="092529"/>
      </a:accent1>
      <a:accent2>
        <a:srgbClr val="CFE9DE"/>
      </a:accent2>
      <a:accent3>
        <a:srgbClr val="66050A"/>
      </a:accent3>
      <a:accent4>
        <a:srgbClr val="FFC9CB"/>
      </a:accent4>
      <a:accent5>
        <a:srgbClr val="D77C3C"/>
      </a:accent5>
      <a:accent6>
        <a:srgbClr val="FFC080"/>
      </a:accent6>
      <a:hlink>
        <a:srgbClr val="0563C1"/>
      </a:hlink>
      <a:folHlink>
        <a:srgbClr val="954F72"/>
      </a:folHlink>
    </a:clrScheme>
    <a:fontScheme name="Custom 64">
      <a:majorFont>
        <a:latin typeface="Vinmonopolet Tittel Bol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inmonopolet_PPT Formell.potx" id="{7431D360-70E7-4D92-8180-91532F86A0BB}" vid="{E9B8E8BF-6BC4-43A2-905F-8A431E7BB61A}"/>
    </a:ext>
  </a:extLst>
</a:theme>
</file>

<file path=ppt/theme/theme2.xml><?xml version="1.0" encoding="utf-8"?>
<a:theme xmlns:a="http://schemas.openxmlformats.org/drawingml/2006/main" name="Forside m/ bilde">
  <a:themeElements>
    <a:clrScheme name="Vinmonopolet1">
      <a:dk1>
        <a:srgbClr val="000000"/>
      </a:dk1>
      <a:lt1>
        <a:srgbClr val="FFFFFF"/>
      </a:lt1>
      <a:dk2>
        <a:srgbClr val="000000"/>
      </a:dk2>
      <a:lt2>
        <a:srgbClr val="F5F4E8"/>
      </a:lt2>
      <a:accent1>
        <a:srgbClr val="000000"/>
      </a:accent1>
      <a:accent2>
        <a:srgbClr val="00A0F0"/>
      </a:accent2>
      <a:accent3>
        <a:srgbClr val="998E53"/>
      </a:accent3>
      <a:accent4>
        <a:srgbClr val="F9E0DB"/>
      </a:accent4>
      <a:accent5>
        <a:srgbClr val="E9F6FD"/>
      </a:accent5>
      <a:accent6>
        <a:srgbClr val="E64614"/>
      </a:accent6>
      <a:hlink>
        <a:srgbClr val="0563C1"/>
      </a:hlink>
      <a:folHlink>
        <a:srgbClr val="954F72"/>
      </a:folHlink>
    </a:clrScheme>
    <a:fontScheme name="Vinmonopolet">
      <a:majorFont>
        <a:latin typeface="Georgia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135D179B-F883-A643-B788-7397A70100C6}" vid="{537C9EE9-2ACB-4D40-8C23-50F35D5F2F6D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525" row="9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5CB5F93E-91FF-4AED-850A-DB5149D92CCA}">
  <we:reference id="wa104380594" version="2.0.0.0" store="nb-NO" storeType="OMEX"/>
  <we:alternateReferences>
    <we:reference id="WA104380594" version="2.0.0.0" store="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D32DEA95151F074A9989219D2443D89A" ma:contentTypeVersion="6" ma:contentTypeDescription="Opprett et nytt dokument." ma:contentTypeScope="" ma:versionID="750f6ed0daaff2eaad3d70069ab29fc0">
  <xsd:schema xmlns:xsd="http://www.w3.org/2001/XMLSchema" xmlns:xs="http://www.w3.org/2001/XMLSchema" xmlns:p="http://schemas.microsoft.com/office/2006/metadata/properties" xmlns:ns2="e6086bf8-be5d-44bb-85e1-3d9d4d96f043" xmlns:ns3="0b0c501d-2aef-4254-90df-a646cb6759b9" targetNamespace="http://schemas.microsoft.com/office/2006/metadata/properties" ma:root="true" ma:fieldsID="0a63d64aa9ece0ed691a959bf6b3616d" ns2:_="" ns3:_="">
    <xsd:import namespace="e6086bf8-be5d-44bb-85e1-3d9d4d96f043"/>
    <xsd:import namespace="0b0c501d-2aef-4254-90df-a646cb6759b9"/>
    <xsd:element name="properties">
      <xsd:complexType>
        <xsd:sequence>
          <xsd:element name="documentManagement">
            <xsd:complexType>
              <xsd:all>
                <xsd:element ref="ns2:j25543a5815d485da9a5e0773ad762e9" minOccurs="0"/>
                <xsd:element ref="ns2:TaxCatchAll" minOccurs="0"/>
                <xsd:element ref="ns3:MediaServiceMetadata" minOccurs="0"/>
                <xsd:element ref="ns3:MediaServiceFastMetadata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086bf8-be5d-44bb-85e1-3d9d4d96f043" elementFormDefault="qualified">
    <xsd:import namespace="http://schemas.microsoft.com/office/2006/documentManagement/types"/>
    <xsd:import namespace="http://schemas.microsoft.com/office/infopath/2007/PartnerControls"/>
    <xsd:element name="j25543a5815d485da9a5e0773ad762e9" ma:index="9" nillable="true" ma:taxonomy="true" ma:internalName="j25543a5815d485da9a5e0773ad762e9" ma:taxonomyFieldName="GtProjectPhase" ma:displayName="Fase" ma:fieldId="{325543a5-815d-485d-a9a5-e0773ad762e9}" ma:sspId="f5581a95-6792-4e8e-9eee-976fc663fcee" ma:termSetId="abcfc9d9-a263-4abb-8234-be973c46258a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10" nillable="true" ma:displayName="Taxonomy Catch All Column" ma:hidden="true" ma:list="{64e35065-ceb5-45cb-bcef-791e3a03ecb6}" ma:internalName="TaxCatchAll" ma:showField="CatchAllData" ma:web="e6086bf8-be5d-44bb-85e1-3d9d4d96f04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b0c501d-2aef-4254-90df-a646cb6759b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6086bf8-be5d-44bb-85e1-3d9d4d96f043" xsi:nil="true"/>
    <j25543a5815d485da9a5e0773ad762e9 xmlns="e6086bf8-be5d-44bb-85e1-3d9d4d96f043">
      <Terms xmlns="http://schemas.microsoft.com/office/infopath/2007/PartnerControls"/>
    </j25543a5815d485da9a5e0773ad762e9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A55EF96-885C-4DCD-9802-674F179CDBC7}"/>
</file>

<file path=customXml/itemProps2.xml><?xml version="1.0" encoding="utf-8"?>
<ds:datastoreItem xmlns:ds="http://schemas.openxmlformats.org/officeDocument/2006/customXml" ds:itemID="{E35F6AD1-CF2F-4543-BFB3-92EC54B4327D}">
  <ds:schemaRefs>
    <ds:schemaRef ds:uri="http://purl.org/dc/dcmitype/"/>
    <ds:schemaRef ds:uri="http://schemas.microsoft.com/office/2006/documentManagement/types"/>
    <ds:schemaRef ds:uri="http://www.w3.org/XML/1998/namespace"/>
    <ds:schemaRef ds:uri="http://schemas.microsoft.com/office/2006/metadata/properties"/>
    <ds:schemaRef ds:uri="http://schemas.openxmlformats.org/package/2006/metadata/core-properties"/>
    <ds:schemaRef ds:uri="http://schemas.microsoft.com/office/infopath/2007/PartnerControls"/>
    <ds:schemaRef ds:uri="8ef01aa4-3923-42dd-8468-e53cc7cccf8f"/>
    <ds:schemaRef ds:uri="http://purl.org/dc/terms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DB9F3339-AE23-4BC5-924F-09D61EB0B3F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</TotalTime>
  <Words>1114</Words>
  <Application>Microsoft Office PowerPoint</Application>
  <PresentationFormat>Widescreen</PresentationFormat>
  <Paragraphs>211</Paragraphs>
  <Slides>20</Slides>
  <Notes>0</Notes>
  <HiddenSlides>1</HiddenSlides>
  <MMClips>0</MMClips>
  <ScaleCrop>false</ScaleCrop>
  <HeadingPairs>
    <vt:vector size="8" baseType="variant">
      <vt:variant>
        <vt:lpstr>Brukte skrifter</vt:lpstr>
      </vt:variant>
      <vt:variant>
        <vt:i4>7</vt:i4>
      </vt:variant>
      <vt:variant>
        <vt:lpstr>Tema</vt:lpstr>
      </vt:variant>
      <vt:variant>
        <vt:i4>2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20</vt:i4>
      </vt:variant>
    </vt:vector>
  </HeadingPairs>
  <TitlesOfParts>
    <vt:vector size="30" baseType="lpstr">
      <vt:lpstr>Georgia</vt:lpstr>
      <vt:lpstr>Aptos</vt:lpstr>
      <vt:lpstr>Vinmonopolet Ingress Medium</vt:lpstr>
      <vt:lpstr>Wingdings</vt:lpstr>
      <vt:lpstr>Arial</vt:lpstr>
      <vt:lpstr>Vinmonopolet Tittel Bold</vt:lpstr>
      <vt:lpstr>Calibri</vt:lpstr>
      <vt:lpstr>Office Theme</vt:lpstr>
      <vt:lpstr>Forside m/ bilde</vt:lpstr>
      <vt:lpstr>think-cell Slide</vt:lpstr>
      <vt:lpstr>{{List:Prosjektegenskaper;Fields:Title}}</vt:lpstr>
      <vt:lpstr>Bakgrunn og formål</vt:lpstr>
      <vt:lpstr>Hva skal prosjektet levere</vt:lpstr>
      <vt:lpstr>Beskrivelse av leveransene</vt:lpstr>
      <vt:lpstr>Gevinstoversikt</vt:lpstr>
      <vt:lpstr>Business case og finansiering</vt:lpstr>
      <vt:lpstr>Mål</vt:lpstr>
      <vt:lpstr>Hovedinteressenter</vt:lpstr>
      <vt:lpstr>Prosjektorganisasjonen</vt:lpstr>
      <vt:lpstr>Prosjekt-organisasjonen</vt:lpstr>
      <vt:lpstr>Fremdrifts- og milepælsplan</vt:lpstr>
      <vt:lpstr>Prosjektstyring</vt:lpstr>
      <vt:lpstr>Risiko</vt:lpstr>
      <vt:lpstr>Rammebetingelser</vt:lpstr>
      <vt:lpstr>Konsekvensutredning</vt:lpstr>
      <vt:lpstr>Rammer</vt:lpstr>
      <vt:lpstr>Ledergruppens fullmaktsramme for styringsgruppen</vt:lpstr>
      <vt:lpstr>Vedlegg</vt:lpstr>
      <vt:lpstr>Versjonshistorikk</vt:lpstr>
      <vt:lpstr>PowerPoint-presentasj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nas Bratseth</dc:creator>
  <cp:lastModifiedBy>Håvard Berg</cp:lastModifiedBy>
  <cp:revision>27</cp:revision>
  <dcterms:created xsi:type="dcterms:W3CDTF">2020-02-06T07:11:03Z</dcterms:created>
  <dcterms:modified xsi:type="dcterms:W3CDTF">2025-11-26T22:02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32DEA95151F074A9989219D2443D89A</vt:lpwstr>
  </property>
  <property fmtid="{D5CDD505-2E9C-101B-9397-08002B2CF9AE}" pid="3" name="MSIP_Label_178c0f71-65dc-41d1-a799-91080a268621_Enabled">
    <vt:lpwstr>true</vt:lpwstr>
  </property>
  <property fmtid="{D5CDD505-2E9C-101B-9397-08002B2CF9AE}" pid="4" name="MSIP_Label_178c0f71-65dc-41d1-a799-91080a268621_SetDate">
    <vt:lpwstr>2025-11-17T11:07:19Z</vt:lpwstr>
  </property>
  <property fmtid="{D5CDD505-2E9C-101B-9397-08002B2CF9AE}" pid="5" name="MSIP_Label_178c0f71-65dc-41d1-a799-91080a268621_Method">
    <vt:lpwstr>Standard</vt:lpwstr>
  </property>
  <property fmtid="{D5CDD505-2E9C-101B-9397-08002B2CF9AE}" pid="6" name="MSIP_Label_178c0f71-65dc-41d1-a799-91080a268621_Name">
    <vt:lpwstr>Internal - Crayon Group Only</vt:lpwstr>
  </property>
  <property fmtid="{D5CDD505-2E9C-101B-9397-08002B2CF9AE}" pid="7" name="MSIP_Label_178c0f71-65dc-41d1-a799-91080a268621_SiteId">
    <vt:lpwstr>8f47ad71-44ca-48bf-afe3-56b9360a4495</vt:lpwstr>
  </property>
  <property fmtid="{D5CDD505-2E9C-101B-9397-08002B2CF9AE}" pid="8" name="MSIP_Label_178c0f71-65dc-41d1-a799-91080a268621_ActionId">
    <vt:lpwstr>075901f4-47ec-4d8a-9a3f-c186a563f332</vt:lpwstr>
  </property>
  <property fmtid="{D5CDD505-2E9C-101B-9397-08002B2CF9AE}" pid="9" name="MSIP_Label_178c0f71-65dc-41d1-a799-91080a268621_ContentBits">
    <vt:lpwstr>2</vt:lpwstr>
  </property>
  <property fmtid="{D5CDD505-2E9C-101B-9397-08002B2CF9AE}" pid="10" name="MSIP_Label_178c0f71-65dc-41d1-a799-91080a268621_Tag">
    <vt:lpwstr>10, 3, 0, 2</vt:lpwstr>
  </property>
  <property fmtid="{D5CDD505-2E9C-101B-9397-08002B2CF9AE}" pid="11" name="ClassificationContentMarkingFooterLocations">
    <vt:lpwstr>Office Theme:9\Forside m/ bilde:10</vt:lpwstr>
  </property>
  <property fmtid="{D5CDD505-2E9C-101B-9397-08002B2CF9AE}" pid="12" name="ClassificationContentMarkingFooterText">
    <vt:lpwstr>Internal Only</vt:lpwstr>
  </property>
</Properties>
</file>